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emf" ContentType="image/x-emf"/>
  <Default Extension="tiff" ContentType="image/tif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handoutMasters/handoutMaster1.xml" ContentType="application/vnd.openxmlformats-officedocument.presentationml.handoutMaster+xml"/>
  <Override PartName="/ppt/media/image10.svg" ContentType="image/svg+xml"/>
  <Override PartName="/ppt/media/image4.svg" ContentType="image/svg+xml"/>
  <Override PartName="/ppt/media/image5.svg" ContentType="image/svg+xml"/>
  <Override PartName="/ppt/media/image6.svg" ContentType="image/svg+xml"/>
  <Override PartName="/ppt/media/image7.svg" ContentType="image/svg+xml"/>
  <Override PartName="/ppt/media/image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autoCompressPictures="0">
  <p:sldMasterIdLst>
    <p:sldMasterId id="2147483648" r:id="rId1"/>
  </p:sldMasterIdLst>
  <p:notesMasterIdLst>
    <p:notesMasterId r:id="rId4"/>
  </p:notesMasterIdLst>
  <p:handoutMasterIdLst>
    <p:handoutMasterId r:id="rId30"/>
  </p:handoutMasterIdLst>
  <p:sldIdLst>
    <p:sldId id="269" r:id="rId3"/>
    <p:sldId id="362" r:id="rId5"/>
    <p:sldId id="330" r:id="rId6"/>
    <p:sldId id="331" r:id="rId7"/>
    <p:sldId id="309" r:id="rId8"/>
    <p:sldId id="308" r:id="rId9"/>
    <p:sldId id="267" r:id="rId10"/>
    <p:sldId id="346" r:id="rId11"/>
    <p:sldId id="347" r:id="rId12"/>
    <p:sldId id="360" r:id="rId13"/>
    <p:sldId id="332" r:id="rId14"/>
    <p:sldId id="321" r:id="rId15"/>
    <p:sldId id="284" r:id="rId16"/>
    <p:sldId id="339" r:id="rId17"/>
    <p:sldId id="316" r:id="rId18"/>
    <p:sldId id="314" r:id="rId19"/>
    <p:sldId id="322" r:id="rId20"/>
    <p:sldId id="348" r:id="rId21"/>
    <p:sldId id="357" r:id="rId22"/>
    <p:sldId id="349" r:id="rId23"/>
    <p:sldId id="355" r:id="rId24"/>
    <p:sldId id="354" r:id="rId25"/>
    <p:sldId id="350" r:id="rId26"/>
    <p:sldId id="353" r:id="rId27"/>
    <p:sldId id="358" r:id="rId28"/>
    <p:sldId id="361" r:id="rId29"/>
  </p:sldIdLst>
  <p:sldSz cx="9906000" cy="6858000" type="A4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CC3"/>
    <a:srgbClr val="F67C2A"/>
    <a:srgbClr val="A4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94"/>
    <p:restoredTop sz="94286" autoAdjust="0"/>
  </p:normalViewPr>
  <p:slideViewPr>
    <p:cSldViewPr snapToGrid="0" snapToObjects="1" showGuides="1">
      <p:cViewPr varScale="1">
        <p:scale>
          <a:sx n="116" d="100"/>
          <a:sy n="116" d="100"/>
        </p:scale>
        <p:origin x="1408" y="184"/>
      </p:cViewPr>
      <p:guideLst>
        <p:guide orient="horz" pos="2190"/>
        <p:guide pos="5690"/>
      </p:guideLst>
    </p:cSldViewPr>
  </p:slideViewPr>
  <p:notesTextViewPr>
    <p:cViewPr>
      <p:scale>
        <a:sx n="96" d="100"/>
        <a:sy n="96" d="100"/>
      </p:scale>
      <p:origin x="0" y="0"/>
    </p:cViewPr>
  </p:notesTextViewPr>
  <p:notesViewPr>
    <p:cSldViewPr snapToGrid="0" snapToObjects="1">
      <p:cViewPr varScale="1">
        <p:scale>
          <a:sx n="89" d="100"/>
          <a:sy n="89" d="100"/>
        </p:scale>
        <p:origin x="201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D:\&#35762;&#24072;\&#25968;&#25454;&#20998;&#26512;&#24066;&#22330;&#21069;&#26223;&#20998;&#26512;&#25253;&#21578;\&#25968;&#25454;&#22788;&#29702;&#21518;\&#25968;&#25454;&#20316;&#2227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D:\&#35762;&#24072;\&#25968;&#25454;&#20998;&#26512;&#24066;&#22330;&#21069;&#26223;&#20998;&#26512;&#25253;&#21578;\&#25968;&#25454;&#22788;&#29702;&#21518;\&#25968;&#25454;&#20316;&#22270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1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2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3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4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纯数据和数据赋能!$A$25:$A$44</c:f>
              <c:strCache>
                <c:ptCount val="20"/>
                <c:pt idx="0">
                  <c:v>计算机软件</c:v>
                </c:pt>
                <c:pt idx="1">
                  <c:v>电商</c:v>
                </c:pt>
                <c:pt idx="2">
                  <c:v>互联网</c:v>
                </c:pt>
                <c:pt idx="3">
                  <c:v>移动互联网</c:v>
                </c:pt>
                <c:pt idx="4">
                  <c:v>金融</c:v>
                </c:pt>
                <c:pt idx="5">
                  <c:v>计算机服务</c:v>
                </c:pt>
                <c:pt idx="6">
                  <c:v>通信</c:v>
                </c:pt>
                <c:pt idx="7">
                  <c:v>数据服务</c:v>
                </c:pt>
                <c:pt idx="8">
                  <c:v>投资</c:v>
                </c:pt>
                <c:pt idx="9">
                  <c:v>专业服务</c:v>
                </c:pt>
                <c:pt idx="10">
                  <c:v>企业服务</c:v>
                </c:pt>
                <c:pt idx="11">
                  <c:v>电信</c:v>
                </c:pt>
                <c:pt idx="12">
                  <c:v>教育</c:v>
                </c:pt>
                <c:pt idx="13">
                  <c:v>半导体</c:v>
                </c:pt>
                <c:pt idx="14">
                  <c:v>电子技术</c:v>
                </c:pt>
                <c:pt idx="15">
                  <c:v>纺织</c:v>
                </c:pt>
                <c:pt idx="16">
                  <c:v>服装</c:v>
                </c:pt>
                <c:pt idx="17">
                  <c:v>生物工程</c:v>
                </c:pt>
                <c:pt idx="18">
                  <c:v>快速消费品</c:v>
                </c:pt>
                <c:pt idx="19">
                  <c:v>进出口</c:v>
                </c:pt>
              </c:strCache>
            </c:strRef>
          </c:cat>
          <c:val>
            <c:numRef>
              <c:f>纯数据和数据赋能!$B$25:$B$44</c:f>
              <c:numCache>
                <c:formatCode>0.00%</c:formatCode>
                <c:ptCount val="20"/>
                <c:pt idx="0">
                  <c:v>0.128299790904339</c:v>
                </c:pt>
                <c:pt idx="1">
                  <c:v>0.112029534762154</c:v>
                </c:pt>
                <c:pt idx="2">
                  <c:v>0.0972948248823837</c:v>
                </c:pt>
                <c:pt idx="3">
                  <c:v>0.0567498693152117</c:v>
                </c:pt>
                <c:pt idx="4">
                  <c:v>0.044400156821746</c:v>
                </c:pt>
                <c:pt idx="5">
                  <c:v>0.0343047569262938</c:v>
                </c:pt>
                <c:pt idx="6">
                  <c:v>0.029665446941976</c:v>
                </c:pt>
                <c:pt idx="7">
                  <c:v>0.0263983272347099</c:v>
                </c:pt>
                <c:pt idx="8">
                  <c:v>0.0210402509147935</c:v>
                </c:pt>
                <c:pt idx="9">
                  <c:v>0.0170216936748562</c:v>
                </c:pt>
                <c:pt idx="10">
                  <c:v>0.0159108729743858</c:v>
                </c:pt>
                <c:pt idx="11">
                  <c:v>0.0156168322007318</c:v>
                </c:pt>
                <c:pt idx="12">
                  <c:v>0.014440669106116</c:v>
                </c:pt>
                <c:pt idx="13">
                  <c:v>0.0136565603763722</c:v>
                </c:pt>
                <c:pt idx="14">
                  <c:v>0.0131338212232096</c:v>
                </c:pt>
                <c:pt idx="15">
                  <c:v>0.0128724516466283</c:v>
                </c:pt>
                <c:pt idx="16">
                  <c:v>0.0122516989022478</c:v>
                </c:pt>
                <c:pt idx="17">
                  <c:v>0.0114022477783586</c:v>
                </c:pt>
                <c:pt idx="18">
                  <c:v>0.0112388917929953</c:v>
                </c:pt>
                <c:pt idx="19">
                  <c:v>0.011173549398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7"/>
        <c:overlap val="-27"/>
        <c:axId val="1749933088"/>
        <c:axId val="1111664656"/>
      </c:barChart>
      <c:catAx>
        <c:axId val="174993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111664656"/>
        <c:crosses val="autoZero"/>
        <c:auto val="1"/>
        <c:lblAlgn val="ctr"/>
        <c:lblOffset val="100"/>
        <c:noMultiLvlLbl val="0"/>
      </c:catAx>
      <c:valAx>
        <c:axId val="1111664656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49933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微软雅黑" panose="020B0503020204020204" pitchFamily="34" charset="-122"/>
          <a:ea typeface="微软雅黑" panose="020B0503020204020204" pitchFamily="34" charset="-122"/>
        </a:defRPr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纯数据和数据赋能!$A$8</c:f>
              <c:strCache>
                <c:ptCount val="1"/>
                <c:pt idx="0">
                  <c:v>纯数据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00" b="1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纯数据和数据赋能!$B$7:$C$7</c:f>
              <c:strCache>
                <c:ptCount val="2"/>
                <c:pt idx="0">
                  <c:v>2019年</c:v>
                </c:pt>
                <c:pt idx="1">
                  <c:v>2020年</c:v>
                </c:pt>
              </c:strCache>
            </c:strRef>
          </c:cat>
          <c:val>
            <c:numRef>
              <c:f>纯数据和数据赋能!$B$8:$C$8</c:f>
              <c:numCache>
                <c:formatCode>0.00%</c:formatCode>
                <c:ptCount val="2"/>
                <c:pt idx="0">
                  <c:v>0.6215</c:v>
                </c:pt>
                <c:pt idx="1" c:formatCode="0%">
                  <c:v>0.53</c:v>
                </c:pt>
              </c:numCache>
            </c:numRef>
          </c:val>
        </c:ser>
        <c:ser>
          <c:idx val="1"/>
          <c:order val="1"/>
          <c:tx>
            <c:strRef>
              <c:f>纯数据和数据赋能!$A$9</c:f>
              <c:strCache>
                <c:ptCount val="1"/>
                <c:pt idx="0">
                  <c:v>数据赋能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00" b="1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纯数据和数据赋能!$B$7:$C$7</c:f>
              <c:strCache>
                <c:ptCount val="2"/>
                <c:pt idx="0">
                  <c:v>2019年</c:v>
                </c:pt>
                <c:pt idx="1">
                  <c:v>2020年</c:v>
                </c:pt>
              </c:strCache>
            </c:strRef>
          </c:cat>
          <c:val>
            <c:numRef>
              <c:f>纯数据和数据赋能!$B$9:$C$9</c:f>
              <c:numCache>
                <c:formatCode>0.00%</c:formatCode>
                <c:ptCount val="2"/>
                <c:pt idx="0">
                  <c:v>0.3785</c:v>
                </c:pt>
                <c:pt idx="1" c:formatCode="0%">
                  <c:v>0.4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612586704"/>
        <c:axId val="1612582928"/>
      </c:barChart>
      <c:catAx>
        <c:axId val="1612586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612582928"/>
        <c:crosses val="autoZero"/>
        <c:auto val="1"/>
        <c:lblAlgn val="ctr"/>
        <c:lblOffset val="100"/>
        <c:noMultiLvlLbl val="0"/>
      </c:catAx>
      <c:valAx>
        <c:axId val="16125829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6125867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微软雅黑" panose="020B0503020204020204" pitchFamily="34" charset="-122"/>
          <a:ea typeface="微软雅黑" panose="020B0503020204020204" pitchFamily="34" charset="-122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未来3年新职业人才需求状况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工业机器人系统运维员</c:v>
                </c:pt>
                <c:pt idx="1">
                  <c:v>建筑信息模型技术员</c:v>
                </c:pt>
                <c:pt idx="2">
                  <c:v>工业机器人系统操作员</c:v>
                </c:pt>
                <c:pt idx="3">
                  <c:v>云计算工程技术人员</c:v>
                </c:pt>
                <c:pt idx="4">
                  <c:v>数字化管理师从业人员</c:v>
                </c:pt>
                <c:pt idx="5">
                  <c:v>人工智能相关人才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25</c:v>
                </c:pt>
                <c:pt idx="1">
                  <c:v>130</c:v>
                </c:pt>
                <c:pt idx="2">
                  <c:v>135</c:v>
                </c:pt>
                <c:pt idx="3">
                  <c:v>160</c:v>
                </c:pt>
                <c:pt idx="4">
                  <c:v>250</c:v>
                </c:pt>
                <c:pt idx="5">
                  <c:v>10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8"/>
        <c:overlap val="45"/>
        <c:axId val="1734101040"/>
        <c:axId val="1733957456"/>
      </c:barChart>
      <c:catAx>
        <c:axId val="1734101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3957456"/>
        <c:crosses val="autoZero"/>
        <c:auto val="1"/>
        <c:lblAlgn val="ctr"/>
        <c:lblOffset val="100"/>
        <c:noMultiLvlLbl val="0"/>
      </c:catAx>
      <c:valAx>
        <c:axId val="173395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34101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论坛APP Android 下载量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4:$A$7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4:$B$7</c:f>
              <c:numCache>
                <c:formatCode>General</c:formatCode>
                <c:ptCount val="4"/>
                <c:pt idx="0">
                  <c:v>374784.252486233</c:v>
                </c:pt>
                <c:pt idx="1">
                  <c:v>431001.890359168</c:v>
                </c:pt>
                <c:pt idx="2">
                  <c:v>495652.173913044</c:v>
                </c:pt>
                <c:pt idx="3">
                  <c:v>5778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50609440"/>
        <c:axId val="1750611216"/>
      </c:barChart>
      <c:catAx>
        <c:axId val="17506094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611216"/>
        <c:crosses val="autoZero"/>
        <c:auto val="1"/>
        <c:lblAlgn val="ctr"/>
        <c:lblOffset val="100"/>
        <c:noMultiLvlLbl val="0"/>
      </c:catAx>
      <c:valAx>
        <c:axId val="1750611216"/>
        <c:scaling>
          <c:orientation val="minMax"/>
          <c:max val="6000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609440"/>
        <c:crosses val="autoZero"/>
        <c:crossBetween val="between"/>
        <c:majorUnit val="3000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433337532901"/>
          <c:y val="0.0688300420222927"/>
          <c:w val="0.583941419431288"/>
          <c:h val="0.56589922237326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论坛APP iOS 下载量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4814</c:v>
                </c:pt>
                <c:pt idx="1">
                  <c:v>300481</c:v>
                </c:pt>
                <c:pt idx="2">
                  <c:v>484584</c:v>
                </c:pt>
                <c:pt idx="3">
                  <c:v>5829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50224992"/>
        <c:axId val="1750845856"/>
      </c:barChart>
      <c:catAx>
        <c:axId val="1750224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845856"/>
        <c:crosses val="autoZero"/>
        <c:auto val="1"/>
        <c:lblAlgn val="ctr"/>
        <c:lblOffset val="100"/>
        <c:noMultiLvlLbl val="0"/>
      </c:catAx>
      <c:valAx>
        <c:axId val="1750845856"/>
        <c:scaling>
          <c:orientation val="minMax"/>
          <c:max val="6000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224992"/>
        <c:crosses val="autoZero"/>
        <c:crossBetween val="between"/>
        <c:majorUnit val="3000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论坛注册用户数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8943653</c:v>
                </c:pt>
                <c:pt idx="1">
                  <c:v>9982988</c:v>
                </c:pt>
                <c:pt idx="2">
                  <c:v>10589375</c:v>
                </c:pt>
                <c:pt idx="3">
                  <c:v>116602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50596864"/>
        <c:axId val="1750599184"/>
      </c:barChart>
      <c:catAx>
        <c:axId val="1750596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599184"/>
        <c:crosses val="autoZero"/>
        <c:auto val="1"/>
        <c:lblAlgn val="ctr"/>
        <c:lblOffset val="100"/>
        <c:noMultiLvlLbl val="0"/>
      </c:catAx>
      <c:valAx>
        <c:axId val="1750599184"/>
        <c:scaling>
          <c:orientation val="minMax"/>
          <c:max val="120000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059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微信公众号的关注人数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6584</c:v>
                </c:pt>
                <c:pt idx="1">
                  <c:v>854534</c:v>
                </c:pt>
                <c:pt idx="2">
                  <c:v>1011564</c:v>
                </c:pt>
                <c:pt idx="3">
                  <c:v>11062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613343808"/>
        <c:axId val="1752051888"/>
      </c:barChart>
      <c:catAx>
        <c:axId val="1613343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752051888"/>
        <c:crosses val="autoZero"/>
        <c:auto val="1"/>
        <c:lblAlgn val="ctr"/>
        <c:lblOffset val="100"/>
        <c:noMultiLvlLbl val="0"/>
      </c:catAx>
      <c:valAx>
        <c:axId val="1752051888"/>
        <c:scaling>
          <c:orientation val="minMax"/>
          <c:max val="12000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[Red]\(#,##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</a:p>
        </c:txPr>
        <c:crossAx val="161334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06CE77-BEE1-4593-8CD0-575546CD971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9C0CCF-BDD2-40C2-A248-F630BB93362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2BFD9A-F520-0848-985C-6539B83DA068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518AC-F2DA-C54B-B9C2-97802F76CDE7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1F805-B838-8E47-9D7D-74FCF1D9C3CE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19127-A861-C145-B90B-DF36B722B970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28EDB-A906-0249-A16C-869F44903B3B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4BAA8-D5FB-434F-9A37-CAEEA915D55D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8F1DFE-2C2D-364E-B8C8-62F062D1E706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01774-B0BD-EF4F-9863-28BE64A07EA9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5B61C-EB8C-874B-AC28-15967533DF52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C8B7-144E-734A-96FA-896B3DB8BEDC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80921-D320-0C4E-A511-EB86BC2F3AE4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文本占位符 9"/>
          <p:cNvSpPr>
            <a:spLocks noGrp="1"/>
          </p:cNvSpPr>
          <p:nvPr>
            <p:ph type="body" sz="quarter" idx="13" hasCustomPrompt="1"/>
          </p:nvPr>
        </p:nvSpPr>
        <p:spPr>
          <a:xfrm>
            <a:off x="429101" y="157490"/>
            <a:ext cx="832754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>
              <a:defRPr lang="zh-CN" altLang="en-US" sz="1300" kern="120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/>
            <a:r>
              <a:rPr kumimoji="1" lang="zh-CN" altLang="en-US" dirty="0"/>
              <a:t>一级标题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80921-D320-0C4E-A511-EB86BC2F3AE4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文本占位符 9"/>
          <p:cNvSpPr>
            <a:spLocks noGrp="1"/>
          </p:cNvSpPr>
          <p:nvPr>
            <p:ph type="body" sz="quarter" idx="13" hasCustomPrompt="1"/>
          </p:nvPr>
        </p:nvSpPr>
        <p:spPr>
          <a:xfrm>
            <a:off x="681038" y="1801733"/>
            <a:ext cx="832754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>
              <a:defRPr lang="zh-CN" altLang="en-US" sz="1300" kern="120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/>
            <a:r>
              <a:rPr kumimoji="1" lang="zh-CN" altLang="en-US" dirty="0"/>
              <a:t>一级标题</a:t>
            </a:r>
            <a:endParaRPr kumimoji="1" lang="zh-CN" altLang="en-US" dirty="0"/>
          </a:p>
        </p:txBody>
      </p:sp>
      <p:sp>
        <p:nvSpPr>
          <p:cNvPr id="7" name="文本占位符 9"/>
          <p:cNvSpPr>
            <a:spLocks noGrp="1"/>
          </p:cNvSpPr>
          <p:nvPr>
            <p:ph type="body" sz="quarter" idx="14" hasCustomPrompt="1"/>
          </p:nvPr>
        </p:nvSpPr>
        <p:spPr>
          <a:xfrm>
            <a:off x="681038" y="2411333"/>
            <a:ext cx="832754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zh-CN" altLang="en-US" sz="1600" b="0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>
              <a:defRPr lang="zh-CN" altLang="en-US" sz="1300" b="1" kern="1200" smtClean="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>
              <a:defRPr lang="zh-CN" altLang="en-US" sz="1300" kern="1200"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/>
            <a:r>
              <a:rPr kumimoji="1" lang="zh-CN" altLang="en-US" dirty="0"/>
              <a:t>一级标题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EB84E-4DF4-CD47-9339-C9E56F298D44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CE99E-2A20-404A-9F65-8AB94390905F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9" Type="http://schemas.openxmlformats.org/officeDocument/2006/relationships/theme" Target="../theme/theme1.xml"/><Relationship Id="rId18" Type="http://schemas.openxmlformats.org/officeDocument/2006/relationships/vmlDrawing" Target="../drawings/vmlDrawing1.vml"/><Relationship Id="rId17" Type="http://schemas.openxmlformats.org/officeDocument/2006/relationships/image" Target="../media/image1.tiff"/><Relationship Id="rId16" Type="http://schemas.openxmlformats.org/officeDocument/2006/relationships/image" Target="../media/image2.png"/><Relationship Id="rId15" Type="http://schemas.openxmlformats.org/officeDocument/2006/relationships/image" Target="../media/image1.emf"/><Relationship Id="rId14" Type="http://schemas.openxmlformats.org/officeDocument/2006/relationships/oleObject" Target="../embeddings/oleObject1.bin"/><Relationship Id="rId13" Type="http://schemas.openxmlformats.org/officeDocument/2006/relationships/tags" Target="../tags/tag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0" name="think-cell 幻灯片" r:id="rId14" imgW="5715" imgH="5715" progId="TCLayout.ActiveDocument.1">
                  <p:embed/>
                </p:oleObj>
              </mc:Choice>
              <mc:Fallback>
                <p:oleObj name="think-cell 幻灯片" r:id="rId14" imgW="5715" imgH="5715" progId="TCLayout.ActiveDocument.1">
                  <p:embed/>
                  <p:pic>
                    <p:nvPicPr>
                      <p:cNvPr id="0" name="图片 2488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704870-0801-2149-9D74-F82A9E1D956B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7" name="Line 137"/>
          <p:cNvSpPr>
            <a:spLocks noChangeShapeType="1"/>
          </p:cNvSpPr>
          <p:nvPr userDrawn="1"/>
        </p:nvSpPr>
        <p:spPr bwMode="auto">
          <a:xfrm>
            <a:off x="0" y="762000"/>
            <a:ext cx="9906000" cy="0"/>
          </a:xfrm>
          <a:prstGeom prst="line">
            <a:avLst/>
          </a:prstGeom>
          <a:noFill/>
          <a:ln w="57150">
            <a:solidFill>
              <a:schemeClr val="bg1">
                <a:lumMod val="95000"/>
              </a:scheme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zh-CN" altLang="en-US" sz="1300" dirty="0"/>
          </a:p>
        </p:txBody>
      </p:sp>
      <p:sp>
        <p:nvSpPr>
          <p:cNvPr id="9" name="ïṩlidê"/>
          <p:cNvSpPr/>
          <p:nvPr userDrawn="1"/>
        </p:nvSpPr>
        <p:spPr>
          <a:xfrm flipH="1">
            <a:off x="9428483" y="6512570"/>
            <a:ext cx="477517" cy="345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1440" tIns="45720" rIns="91440" bIns="45720" anchor="ctr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  <a:endParaRPr lang="zh-CN" altLang="en-US" sz="1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8117225" y="2299"/>
            <a:ext cx="782236" cy="782236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8993377" y="181479"/>
            <a:ext cx="706460" cy="4238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9.jpeg"/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5.svg"/><Relationship Id="rId8" Type="http://schemas.openxmlformats.org/officeDocument/2006/relationships/image" Target="../media/image12.png"/><Relationship Id="rId7" Type="http://schemas.openxmlformats.org/officeDocument/2006/relationships/image" Target="../media/image4.svg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chart" Target="../charts/chart7.xml"/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6" Type="http://schemas.openxmlformats.org/officeDocument/2006/relationships/notesSlide" Target="../notesSlides/notesSlide12.xml"/><Relationship Id="rId15" Type="http://schemas.openxmlformats.org/officeDocument/2006/relationships/slideLayout" Target="../slideLayouts/slideLayout6.xml"/><Relationship Id="rId14" Type="http://schemas.openxmlformats.org/officeDocument/2006/relationships/image" Target="../media/image8.tiff"/><Relationship Id="rId13" Type="http://schemas.openxmlformats.org/officeDocument/2006/relationships/image" Target="../media/image7.svg"/><Relationship Id="rId12" Type="http://schemas.openxmlformats.org/officeDocument/2006/relationships/image" Target="../media/image14.png"/><Relationship Id="rId11" Type="http://schemas.openxmlformats.org/officeDocument/2006/relationships/image" Target="../media/image6.svg"/><Relationship Id="rId10" Type="http://schemas.openxmlformats.org/officeDocument/2006/relationships/image" Target="../media/image13.png"/><Relationship Id="rId1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4.xml"/><Relationship Id="rId6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7.jpeg"/><Relationship Id="rId8" Type="http://schemas.openxmlformats.org/officeDocument/2006/relationships/image" Target="../media/image26.jpeg"/><Relationship Id="rId7" Type="http://schemas.openxmlformats.org/officeDocument/2006/relationships/image" Target="../media/image25.jpeg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10.svg"/><Relationship Id="rId3" Type="http://schemas.openxmlformats.org/officeDocument/2006/relationships/image" Target="../media/image22.png"/><Relationship Id="rId26" Type="http://schemas.openxmlformats.org/officeDocument/2006/relationships/notesSlide" Target="../notesSlides/notesSlide15.xml"/><Relationship Id="rId25" Type="http://schemas.openxmlformats.org/officeDocument/2006/relationships/slideLayout" Target="../slideLayouts/slideLayout6.xml"/><Relationship Id="rId24" Type="http://schemas.openxmlformats.org/officeDocument/2006/relationships/image" Target="../media/image42.jpeg"/><Relationship Id="rId23" Type="http://schemas.openxmlformats.org/officeDocument/2006/relationships/image" Target="../media/image41.jpeg"/><Relationship Id="rId22" Type="http://schemas.openxmlformats.org/officeDocument/2006/relationships/image" Target="../media/image40.jpeg"/><Relationship Id="rId21" Type="http://schemas.openxmlformats.org/officeDocument/2006/relationships/image" Target="../media/image39.png"/><Relationship Id="rId20" Type="http://schemas.openxmlformats.org/officeDocument/2006/relationships/image" Target="../media/image38.GIF"/><Relationship Id="rId2" Type="http://schemas.openxmlformats.org/officeDocument/2006/relationships/image" Target="../media/image9.svg"/><Relationship Id="rId19" Type="http://schemas.openxmlformats.org/officeDocument/2006/relationships/image" Target="../media/image37.png"/><Relationship Id="rId18" Type="http://schemas.openxmlformats.org/officeDocument/2006/relationships/image" Target="../media/image36.png"/><Relationship Id="rId17" Type="http://schemas.openxmlformats.org/officeDocument/2006/relationships/image" Target="../media/image35.png"/><Relationship Id="rId16" Type="http://schemas.openxmlformats.org/officeDocument/2006/relationships/image" Target="../media/image34.jpeg"/><Relationship Id="rId15" Type="http://schemas.openxmlformats.org/officeDocument/2006/relationships/image" Target="../media/image33.jpeg"/><Relationship Id="rId14" Type="http://schemas.openxmlformats.org/officeDocument/2006/relationships/image" Target="../media/image32.jpeg"/><Relationship Id="rId13" Type="http://schemas.openxmlformats.org/officeDocument/2006/relationships/image" Target="../media/image31.jpeg"/><Relationship Id="rId12" Type="http://schemas.openxmlformats.org/officeDocument/2006/relationships/image" Target="../media/image30.jpeg"/><Relationship Id="rId11" Type="http://schemas.openxmlformats.org/officeDocument/2006/relationships/image" Target="../media/image29.png"/><Relationship Id="rId10" Type="http://schemas.openxmlformats.org/officeDocument/2006/relationships/image" Target="../media/image28.jpeg"/><Relationship Id="rId1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7.tiff"/><Relationship Id="rId8" Type="http://schemas.openxmlformats.org/officeDocument/2006/relationships/image" Target="../media/image16.tiff"/><Relationship Id="rId7" Type="http://schemas.openxmlformats.org/officeDocument/2006/relationships/image" Target="../media/image15.tiff"/><Relationship Id="rId6" Type="http://schemas.openxmlformats.org/officeDocument/2006/relationships/image" Target="../media/image44.png"/><Relationship Id="rId5" Type="http://schemas.openxmlformats.org/officeDocument/2006/relationships/image" Target="../media/image14.tiff"/><Relationship Id="rId4" Type="http://schemas.openxmlformats.org/officeDocument/2006/relationships/image" Target="../media/image43.png"/><Relationship Id="rId30" Type="http://schemas.openxmlformats.org/officeDocument/2006/relationships/notesSlide" Target="../notesSlides/notesSlide16.xml"/><Relationship Id="rId3" Type="http://schemas.openxmlformats.org/officeDocument/2006/relationships/image" Target="../media/image13.tiff"/><Relationship Id="rId29" Type="http://schemas.openxmlformats.org/officeDocument/2006/relationships/slideLayout" Target="../slideLayouts/slideLayout6.xml"/><Relationship Id="rId28" Type="http://schemas.openxmlformats.org/officeDocument/2006/relationships/image" Target="../media/image58.png"/><Relationship Id="rId27" Type="http://schemas.openxmlformats.org/officeDocument/2006/relationships/image" Target="../media/image57.png"/><Relationship Id="rId26" Type="http://schemas.openxmlformats.org/officeDocument/2006/relationships/image" Target="../media/image56.png"/><Relationship Id="rId25" Type="http://schemas.openxmlformats.org/officeDocument/2006/relationships/image" Target="../media/image22.tiff"/><Relationship Id="rId24" Type="http://schemas.openxmlformats.org/officeDocument/2006/relationships/image" Target="../media/image21.tiff"/><Relationship Id="rId23" Type="http://schemas.openxmlformats.org/officeDocument/2006/relationships/image" Target="../media/image55.png"/><Relationship Id="rId22" Type="http://schemas.openxmlformats.org/officeDocument/2006/relationships/image" Target="../media/image54.png"/><Relationship Id="rId21" Type="http://schemas.openxmlformats.org/officeDocument/2006/relationships/image" Target="../media/image53.jpeg"/><Relationship Id="rId20" Type="http://schemas.openxmlformats.org/officeDocument/2006/relationships/image" Target="../media/image52.jpeg"/><Relationship Id="rId2" Type="http://schemas.openxmlformats.org/officeDocument/2006/relationships/image" Target="../media/image12.tiff"/><Relationship Id="rId19" Type="http://schemas.openxmlformats.org/officeDocument/2006/relationships/image" Target="../media/image51.png"/><Relationship Id="rId18" Type="http://schemas.openxmlformats.org/officeDocument/2006/relationships/image" Target="../media/image50.png"/><Relationship Id="rId17" Type="http://schemas.openxmlformats.org/officeDocument/2006/relationships/image" Target="../media/image20.tiff"/><Relationship Id="rId16" Type="http://schemas.openxmlformats.org/officeDocument/2006/relationships/image" Target="../media/image19.tiff"/><Relationship Id="rId15" Type="http://schemas.openxmlformats.org/officeDocument/2006/relationships/image" Target="../media/image49.png"/><Relationship Id="rId14" Type="http://schemas.openxmlformats.org/officeDocument/2006/relationships/image" Target="../media/image48.jpeg"/><Relationship Id="rId13" Type="http://schemas.openxmlformats.org/officeDocument/2006/relationships/image" Target="../media/image47.GIF"/><Relationship Id="rId12" Type="http://schemas.openxmlformats.org/officeDocument/2006/relationships/image" Target="../media/image46.jpeg"/><Relationship Id="rId11" Type="http://schemas.openxmlformats.org/officeDocument/2006/relationships/image" Target="../media/image18.tiff"/><Relationship Id="rId10" Type="http://schemas.openxmlformats.org/officeDocument/2006/relationships/image" Target="../media/image45.png"/><Relationship Id="rId1" Type="http://schemas.openxmlformats.org/officeDocument/2006/relationships/image" Target="../media/image11.tiff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image" Target="../media/image67.png"/><Relationship Id="rId8" Type="http://schemas.openxmlformats.org/officeDocument/2006/relationships/image" Target="../media/image66.png"/><Relationship Id="rId7" Type="http://schemas.openxmlformats.org/officeDocument/2006/relationships/image" Target="../media/image65.png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62.jpeg"/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1" Type="http://schemas.openxmlformats.org/officeDocument/2006/relationships/notesSlide" Target="../notesSlides/notesSlide17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69.jpeg"/><Relationship Id="rId1" Type="http://schemas.openxmlformats.org/officeDocument/2006/relationships/image" Target="../media/image6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24.tiff"/><Relationship Id="rId1" Type="http://schemas.openxmlformats.org/officeDocument/2006/relationships/image" Target="../media/image23.tiff"/></Relationships>
</file>

<file path=ppt/slides/_rels/slide2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72.png"/><Relationship Id="rId3" Type="http://schemas.openxmlformats.org/officeDocument/2006/relationships/image" Target="../media/image71.jpeg"/><Relationship Id="rId2" Type="http://schemas.openxmlformats.org/officeDocument/2006/relationships/image" Target="../media/image25.tiff"/><Relationship Id="rId1" Type="http://schemas.openxmlformats.org/officeDocument/2006/relationships/image" Target="../media/image7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7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3.tiff"/><Relationship Id="rId3" Type="http://schemas.openxmlformats.org/officeDocument/2006/relationships/image" Target="../media/image2.tiff"/><Relationship Id="rId2" Type="http://schemas.openxmlformats.org/officeDocument/2006/relationships/tags" Target="../tags/tag2.xml"/><Relationship Id="rId1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5.png"/><Relationship Id="rId1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3" name="Picture 2" descr="https://www.cda.cn/uploadfile/image/20180110/20180110155842_19442.jpg"/>
          <p:cNvPicPr>
            <a:picLocks noChangeAspect="1" noChangeArrowheads="1"/>
          </p:cNvPicPr>
          <p:nvPr/>
        </p:nvPicPr>
        <p:blipFill rotWithShape="1">
          <a:blip r:embed="rId1" cstate="hqprint"/>
          <a:srcRect/>
          <a:stretch>
            <a:fillRect/>
          </a:stretch>
        </p:blipFill>
        <p:spPr bwMode="auto">
          <a:xfrm>
            <a:off x="0" y="1285053"/>
            <a:ext cx="9906000" cy="557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 bwMode="auto">
          <a:xfrm>
            <a:off x="0" y="1285053"/>
            <a:ext cx="9906000" cy="5558229"/>
          </a:xfrm>
          <a:prstGeom prst="rect">
            <a:avLst/>
          </a:prstGeom>
          <a:solidFill>
            <a:schemeClr val="bg1">
              <a:alpha val="5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178415" y="3043700"/>
            <a:ext cx="7844440" cy="17708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noAutofit/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tabLst>
                <a:tab pos="571500" algn="l"/>
              </a:tabLst>
              <a:defRPr kumimoji="1" sz="21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tabLst>
                <a:tab pos="8559800" algn="r"/>
              </a:tabLst>
            </a:pPr>
            <a:endParaRPr lang="en-US" altLang="de-DE" sz="2400" kern="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直接连接符 2"/>
          <p:cNvCxnSpPr/>
          <p:nvPr/>
        </p:nvCxnSpPr>
        <p:spPr bwMode="auto">
          <a:xfrm>
            <a:off x="1343975" y="4386554"/>
            <a:ext cx="75133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ïṩlidê"/>
          <p:cNvSpPr/>
          <p:nvPr/>
        </p:nvSpPr>
        <p:spPr>
          <a:xfrm flipH="1">
            <a:off x="1343975" y="3552856"/>
            <a:ext cx="7383610" cy="41261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zh-CN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管之家</a:t>
            </a:r>
            <a:r>
              <a:rPr lang="en-US" altLang="zh-CN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en-US" altLang="zh-CN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en-US" altLang="zh-CN" sz="4000" b="1" spc="300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4000" b="1" spc="300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endParaRPr lang="zh-CN" altLang="en-US" sz="4000" b="1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校合作方案</a:t>
            </a:r>
            <a:endParaRPr lang="zh-CN" altLang="en-US" sz="4000" b="1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ïṩlidê"/>
          <p:cNvSpPr/>
          <p:nvPr/>
        </p:nvSpPr>
        <p:spPr>
          <a:xfrm flipH="1">
            <a:off x="2404267" y="4401875"/>
            <a:ext cx="5392737" cy="41261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每个学生都参加一次 </a:t>
            </a:r>
            <a:r>
              <a:rPr lang="en-GB" altLang="zh-CN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 </a:t>
            </a:r>
            <a:r>
              <a:rPr lang="zh-CN" altLang="en-US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考试</a:t>
            </a:r>
            <a:endParaRPr lang="zh-CN" altLang="en-US" sz="200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ïṩlidê"/>
          <p:cNvSpPr/>
          <p:nvPr/>
        </p:nvSpPr>
        <p:spPr>
          <a:xfrm flipH="1">
            <a:off x="9428483" y="6512570"/>
            <a:ext cx="477517" cy="345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1440" tIns="45720" rIns="91440" bIns="45720" anchor="ctr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  <a:endParaRPr lang="zh-CN" altLang="en-US" sz="1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42015" y="136523"/>
            <a:ext cx="8327547" cy="480131"/>
          </a:xfrm>
        </p:spPr>
        <p:txBody>
          <a:bodyPr/>
          <a:lstStyle/>
          <a:p>
            <a:r>
              <a:rPr kumimoji="1" lang="zh-CN" altLang="en-US" dirty="0"/>
              <a:t>学生报考的认证证书，也要顺应时代发展</a:t>
            </a:r>
            <a:endParaRPr kumimoji="1" lang="zh-CN" altLang="en-US" dirty="0"/>
          </a:p>
        </p:txBody>
      </p:sp>
      <p:sp>
        <p:nvSpPr>
          <p:cNvPr id="49" name="文本框 48"/>
          <p:cNvSpPr txBox="1"/>
          <p:nvPr/>
        </p:nvSpPr>
        <p:spPr>
          <a:xfrm>
            <a:off x="342014" y="1108103"/>
            <a:ext cx="4683355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endParaRPr lang="zh-CN" altLang="en-US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072743" y="6498771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2"/>
          <p:cNvSpPr txBox="1"/>
          <p:nvPr/>
        </p:nvSpPr>
        <p:spPr>
          <a:xfrm>
            <a:off x="360725" y="1014790"/>
            <a:ext cx="9109199" cy="129794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sz="2400" dirty="0"/>
              <a:t>30</a:t>
            </a:r>
            <a:r>
              <a:rPr kumimoji="1" lang="zh-CN" altLang="en-US" sz="2400" dirty="0"/>
              <a:t>多年前的「计算机普及从娃娃抓起」，如今还在考计算机二级</a:t>
            </a:r>
            <a:endParaRPr kumimoji="1" lang="en-US" altLang="zh-CN" sz="2400" dirty="0"/>
          </a:p>
          <a:p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现在的年轻人，都是玩着电脑、刷着手机长大的，对于电脑的熟悉已经远超过去，基础的操作对于他们来说是家常便饭，就像现在已经不需要电脑打字培训班了，现在的学生，应该被认证引导学习的语言是数据语言，成为数据相关人才。</a:t>
            </a:r>
            <a:endParaRPr kumimoji="1" lang="zh-CN" altLang="en-US" sz="2000" dirty="0"/>
          </a:p>
        </p:txBody>
      </p:sp>
      <p:sp>
        <p:nvSpPr>
          <p:cNvPr id="14" name="等腰三角形 22"/>
          <p:cNvSpPr/>
          <p:nvPr/>
        </p:nvSpPr>
        <p:spPr bwMode="auto">
          <a:xfrm rot="5400000">
            <a:off x="3020405" y="4357838"/>
            <a:ext cx="2359602" cy="147145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4098" name="Picture 2" descr="微机课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459457" y="3056672"/>
            <a:ext cx="3374628" cy="235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关于征集2020保险业数字化转型成果暨线上化技术应用案例的通知_中国银行保险报网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27966" y="2579017"/>
            <a:ext cx="3374628" cy="189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在线观看】后疫情时代的医疗数字化转型之旅专家访谈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11719" y="3546254"/>
            <a:ext cx="3668043" cy="2063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2020  届全球制造业数字化转型国际峰会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80801" y="4542342"/>
            <a:ext cx="2821793" cy="1814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>
                <a:solidFill>
                  <a:schemeClr val="tx2"/>
                </a:solidFill>
              </a:rPr>
              <a:t>CDA </a:t>
            </a:r>
            <a:r>
              <a:rPr kumimoji="1" lang="en-US" altLang="zh-CN" baseline="30000" dirty="0">
                <a:solidFill>
                  <a:schemeClr val="tx2"/>
                </a:solidFill>
              </a:rPr>
              <a:t>®</a:t>
            </a:r>
            <a:r>
              <a:rPr kumimoji="1" lang="zh-CN" altLang="en-US" dirty="0">
                <a:solidFill>
                  <a:schemeClr val="tx2"/>
                </a:solidFill>
              </a:rPr>
              <a:t>认证标准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883285"/>
          </a:xfrm>
        </p:spPr>
        <p:txBody>
          <a:bodyPr/>
          <a:lstStyle/>
          <a:p>
            <a:pPr algn="l">
              <a:buClrTx/>
              <a:buSzTx/>
            </a:pPr>
            <a:r>
              <a:rPr kumimoji="1" dirty="0">
                <a:solidFill>
                  <a:schemeClr val="tx2"/>
                </a:solidFill>
                <a:sym typeface="+mn-ea"/>
              </a:rPr>
              <a:t>CDA （Certified Data Analyst， 注册数据分析师）</a:t>
            </a:r>
            <a:endParaRPr kumimoji="1" lang="zh-CN" altLang="en-US" dirty="0">
              <a:solidFill>
                <a:schemeClr val="tx2"/>
              </a:solidFill>
            </a:endParaRPr>
          </a:p>
          <a:p>
            <a:pPr algn="l">
              <a:buClrTx/>
              <a:buSzTx/>
            </a:pPr>
            <a:r>
              <a:rPr kumimoji="1" lang="zh-CN" altLang="en-US" dirty="0">
                <a:solidFill>
                  <a:schemeClr val="tx2"/>
                </a:solidFill>
              </a:rPr>
              <a:t>应对高校现状，经管之家论坛与</a:t>
            </a:r>
            <a:r>
              <a:rPr kumimoji="1" dirty="0">
                <a:solidFill>
                  <a:schemeClr val="tx2"/>
                </a:solidFill>
              </a:rPr>
              <a:t>CDA数据分析研究院联合推出CDA</a:t>
            </a:r>
            <a:r>
              <a:rPr kumimoji="1" dirty="0">
                <a:solidFill>
                  <a:schemeClr val="tx2"/>
                </a:solidFill>
                <a:sym typeface="+mn-ea"/>
              </a:rPr>
              <a:t>®</a:t>
            </a:r>
            <a:r>
              <a:rPr kumimoji="1" lang="zh-CN" altLang="en-US" dirty="0">
                <a:solidFill>
                  <a:schemeClr val="tx2"/>
                </a:solidFill>
              </a:rPr>
              <a:t> 专业认证标准，全面覆盖数据科学基础能力，赋能各个专业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图片 25"/>
          <p:cNvPicPr>
            <a:picLocks noChangeAspect="1"/>
          </p:cNvPicPr>
          <p:nvPr/>
        </p:nvPicPr>
        <p:blipFill rotWithShape="1">
          <a:blip r:embed="rId5" cstate="hqprint"/>
          <a:srcRect/>
          <a:stretch>
            <a:fillRect/>
          </a:stretch>
        </p:blipFill>
        <p:spPr>
          <a:xfrm>
            <a:off x="473976" y="1469343"/>
            <a:ext cx="4059940" cy="1893611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lang="zh-CN" altLang="en-US" dirty="0"/>
              <a:t>我们拥有运营国内最大经管类学习社区的经验</a:t>
            </a:r>
            <a:r>
              <a:rPr lang="en-US" altLang="zh-CN" dirty="0"/>
              <a:t>…</a:t>
            </a:r>
            <a:endParaRPr lang="zh-CN" altLang="zh-CN" dirty="0"/>
          </a:p>
        </p:txBody>
      </p:sp>
      <p:sp>
        <p:nvSpPr>
          <p:cNvPr id="52" name="iSḷiḓê"/>
          <p:cNvSpPr txBox="1"/>
          <p:nvPr/>
        </p:nvSpPr>
        <p:spPr>
          <a:xfrm>
            <a:off x="574993" y="4014778"/>
            <a:ext cx="4447170" cy="351423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坛用户｜</a:t>
            </a:r>
            <a:r>
              <a:rPr lang="en-US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00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最大的经管类学习社区</a:t>
            </a:r>
            <a:endParaRPr lang="en-US" altLang="zh-CN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iSļîḑé"/>
          <p:cNvSpPr txBox="1"/>
          <p:nvPr/>
        </p:nvSpPr>
        <p:spPr>
          <a:xfrm>
            <a:off x="5296562" y="4001624"/>
            <a:ext cx="4666624" cy="351423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众号关注｜</a:t>
            </a:r>
            <a:r>
              <a:rPr lang="en-US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0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最活跃的经管类学习社区</a:t>
            </a:r>
            <a:endParaRPr lang="en-US" altLang="zh-CN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形 4" descr="男人群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7763" y="3954746"/>
            <a:ext cx="471487" cy="471487"/>
          </a:xfrm>
          <a:prstGeom prst="rect">
            <a:avLst/>
          </a:prstGeom>
        </p:spPr>
      </p:pic>
      <p:pic>
        <p:nvPicPr>
          <p:cNvPr id="7" name="图形 6" descr="客户评价 RTL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26027" y="3954746"/>
            <a:ext cx="471487" cy="471487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429101" y="3578223"/>
            <a:ext cx="89659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V="1">
            <a:off x="4848071" y="921261"/>
            <a:ext cx="64004" cy="543509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椭圆 12"/>
          <p:cNvSpPr/>
          <p:nvPr/>
        </p:nvSpPr>
        <p:spPr>
          <a:xfrm>
            <a:off x="3946922" y="3234834"/>
            <a:ext cx="1685925" cy="73785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iṡľiḍè"/>
          <p:cNvSpPr txBox="1"/>
          <p:nvPr/>
        </p:nvSpPr>
        <p:spPr>
          <a:xfrm>
            <a:off x="5296562" y="1042830"/>
            <a:ext cx="4425939" cy="351423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defRPr/>
            </a:pP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｜</a:t>
            </a:r>
            <a:r>
              <a:rPr lang="en-US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下载，最大移动端经管类学习社区</a:t>
            </a:r>
            <a:endParaRPr lang="en-US" altLang="zh-CN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îṩļiďé"/>
          <p:cNvSpPr txBox="1"/>
          <p:nvPr/>
        </p:nvSpPr>
        <p:spPr>
          <a:xfrm>
            <a:off x="473976" y="982799"/>
            <a:ext cx="4059940" cy="351423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公众号｜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「</a:t>
            </a:r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榜」学术类第一</a:t>
            </a:r>
            <a:endParaRPr lang="en-US" altLang="zh-CN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形 8" descr="智能手机"/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55641" y="982799"/>
            <a:ext cx="471487" cy="471487"/>
          </a:xfrm>
          <a:prstGeom prst="rect">
            <a:avLst/>
          </a:prstGeom>
        </p:spPr>
      </p:pic>
      <p:pic>
        <p:nvPicPr>
          <p:cNvPr id="25" name="图形 10" descr="铃"/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746" y="982799"/>
            <a:ext cx="471487" cy="471487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167111" y="3255376"/>
            <a:ext cx="1245549" cy="747329"/>
          </a:xfrm>
          <a:prstGeom prst="rect">
            <a:avLst/>
          </a:prstGeom>
        </p:spPr>
      </p:pic>
      <p:graphicFrame>
        <p:nvGraphicFramePr>
          <p:cNvPr id="4" name="图表 3"/>
          <p:cNvGraphicFramePr/>
          <p:nvPr/>
        </p:nvGraphicFramePr>
        <p:xfrm>
          <a:off x="4950359" y="1414795"/>
          <a:ext cx="2807224" cy="202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7" name="图表 26"/>
          <p:cNvGraphicFramePr/>
          <p:nvPr/>
        </p:nvGraphicFramePr>
        <p:xfrm>
          <a:off x="7445326" y="1409119"/>
          <a:ext cx="2517860" cy="202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7424057" y="5562600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图表 27"/>
          <p:cNvGraphicFramePr/>
          <p:nvPr/>
        </p:nvGraphicFramePr>
        <p:xfrm>
          <a:off x="336147" y="4217973"/>
          <a:ext cx="4511924" cy="2574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图表 28"/>
          <p:cNvGraphicFramePr/>
          <p:nvPr/>
        </p:nvGraphicFramePr>
        <p:xfrm>
          <a:off x="5261009" y="4217972"/>
          <a:ext cx="4511924" cy="2574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kumimoji="1" lang="en-US" altLang="zh-CN" dirty="0"/>
              <a:t>CDA </a:t>
            </a:r>
            <a:r>
              <a:rPr kumimoji="1" lang="zh-CN" altLang="en-US" dirty="0"/>
              <a:t>行业起步最早，标准化程度最高，影响最广泛</a:t>
            </a:r>
            <a:endParaRPr kumimoji="1" lang="zh-CN" altLang="en-US" dirty="0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1" cstate="hqprint"/>
          <a:srcRect/>
          <a:stretch>
            <a:fillRect/>
          </a:stretch>
        </p:blipFill>
        <p:spPr>
          <a:xfrm>
            <a:off x="5706258" y="5133165"/>
            <a:ext cx="4014069" cy="1221674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31" name="ísľîdè"/>
          <p:cNvSpPr/>
          <p:nvPr/>
        </p:nvSpPr>
        <p:spPr>
          <a:xfrm>
            <a:off x="338687" y="5363032"/>
            <a:ext cx="5367571" cy="4162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2" name="íšliḋe"/>
          <p:cNvSpPr/>
          <p:nvPr/>
        </p:nvSpPr>
        <p:spPr>
          <a:xfrm>
            <a:off x="338687" y="3305837"/>
            <a:ext cx="1755000" cy="1995766"/>
          </a:xfrm>
          <a:prstGeom prst="rect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3" name="ïŝ1ïďe"/>
          <p:cNvSpPr/>
          <p:nvPr/>
        </p:nvSpPr>
        <p:spPr>
          <a:xfrm>
            <a:off x="957611" y="3047261"/>
            <a:ext cx="517152" cy="51715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FFFFFF">
                <a:lumMod val="50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4" name="íṩḷîḑè"/>
          <p:cNvSpPr/>
          <p:nvPr/>
        </p:nvSpPr>
        <p:spPr>
          <a:xfrm>
            <a:off x="1092360" y="3211118"/>
            <a:ext cx="247653" cy="189436"/>
          </a:xfrm>
          <a:custGeom>
            <a:avLst/>
            <a:gdLst>
              <a:gd name="connsiteX0" fmla="*/ 361794 w 551492"/>
              <a:gd name="connsiteY0" fmla="*/ 308363 h 421851"/>
              <a:gd name="connsiteX1" fmla="*/ 530845 w 551492"/>
              <a:gd name="connsiteY1" fmla="*/ 308363 h 421851"/>
              <a:gd name="connsiteX2" fmla="*/ 551492 w 551492"/>
              <a:gd name="connsiteY2" fmla="*/ 329044 h 421851"/>
              <a:gd name="connsiteX3" fmla="*/ 551492 w 551492"/>
              <a:gd name="connsiteY3" fmla="*/ 362650 h 421851"/>
              <a:gd name="connsiteX4" fmla="*/ 530845 w 551492"/>
              <a:gd name="connsiteY4" fmla="*/ 383331 h 421851"/>
              <a:gd name="connsiteX5" fmla="*/ 378570 w 551492"/>
              <a:gd name="connsiteY5" fmla="*/ 383331 h 421851"/>
              <a:gd name="connsiteX6" fmla="*/ 378570 w 551492"/>
              <a:gd name="connsiteY6" fmla="*/ 369113 h 421851"/>
              <a:gd name="connsiteX7" fmla="*/ 361794 w 551492"/>
              <a:gd name="connsiteY7" fmla="*/ 308363 h 421851"/>
              <a:gd name="connsiteX8" fmla="*/ 313904 w 551492"/>
              <a:gd name="connsiteY8" fmla="*/ 172924 h 421851"/>
              <a:gd name="connsiteX9" fmla="*/ 530832 w 551492"/>
              <a:gd name="connsiteY9" fmla="*/ 172924 h 421851"/>
              <a:gd name="connsiteX10" fmla="*/ 551492 w 551492"/>
              <a:gd name="connsiteY10" fmla="*/ 193548 h 421851"/>
              <a:gd name="connsiteX11" fmla="*/ 551492 w 551492"/>
              <a:gd name="connsiteY11" fmla="*/ 225772 h 421851"/>
              <a:gd name="connsiteX12" fmla="*/ 530832 w 551492"/>
              <a:gd name="connsiteY12" fmla="*/ 247685 h 421851"/>
              <a:gd name="connsiteX13" fmla="*/ 271293 w 551492"/>
              <a:gd name="connsiteY13" fmla="*/ 247685 h 421851"/>
              <a:gd name="connsiteX14" fmla="*/ 271293 w 551492"/>
              <a:gd name="connsiteY14" fmla="*/ 227061 h 421851"/>
              <a:gd name="connsiteX15" fmla="*/ 272584 w 551492"/>
              <a:gd name="connsiteY15" fmla="*/ 224483 h 421851"/>
              <a:gd name="connsiteX16" fmla="*/ 313904 w 551492"/>
              <a:gd name="connsiteY16" fmla="*/ 172924 h 421851"/>
              <a:gd name="connsiteX17" fmla="*/ 281648 w 551492"/>
              <a:gd name="connsiteY17" fmla="*/ 36241 h 421851"/>
              <a:gd name="connsiteX18" fmla="*/ 530834 w 551492"/>
              <a:gd name="connsiteY18" fmla="*/ 36241 h 421851"/>
              <a:gd name="connsiteX19" fmla="*/ 551492 w 551492"/>
              <a:gd name="connsiteY19" fmla="*/ 58154 h 421851"/>
              <a:gd name="connsiteX20" fmla="*/ 551492 w 551492"/>
              <a:gd name="connsiteY20" fmla="*/ 90378 h 421851"/>
              <a:gd name="connsiteX21" fmla="*/ 530834 w 551492"/>
              <a:gd name="connsiteY21" fmla="*/ 111002 h 421851"/>
              <a:gd name="connsiteX22" fmla="*/ 308761 w 551492"/>
              <a:gd name="connsiteY22" fmla="*/ 111002 h 421851"/>
              <a:gd name="connsiteX23" fmla="*/ 295850 w 551492"/>
              <a:gd name="connsiteY23" fmla="*/ 96823 h 421851"/>
              <a:gd name="connsiteX24" fmla="*/ 281648 w 551492"/>
              <a:gd name="connsiteY24" fmla="*/ 36241 h 421851"/>
              <a:gd name="connsiteX25" fmla="*/ 176987 w 551492"/>
              <a:gd name="connsiteY25" fmla="*/ 0 h 421851"/>
              <a:gd name="connsiteX26" fmla="*/ 271294 w 551492"/>
              <a:gd name="connsiteY26" fmla="*/ 117396 h 421851"/>
              <a:gd name="connsiteX27" fmla="*/ 276461 w 551492"/>
              <a:gd name="connsiteY27" fmla="*/ 117396 h 421851"/>
              <a:gd name="connsiteX28" fmla="*/ 290672 w 551492"/>
              <a:gd name="connsiteY28" fmla="*/ 152228 h 421851"/>
              <a:gd name="connsiteX29" fmla="*/ 262251 w 551492"/>
              <a:gd name="connsiteY29" fmla="*/ 199960 h 421851"/>
              <a:gd name="connsiteX30" fmla="*/ 257083 w 551492"/>
              <a:gd name="connsiteY30" fmla="*/ 197380 h 421851"/>
              <a:gd name="connsiteX31" fmla="*/ 224786 w 551492"/>
              <a:gd name="connsiteY31" fmla="*/ 247692 h 421851"/>
              <a:gd name="connsiteX32" fmla="*/ 219619 w 551492"/>
              <a:gd name="connsiteY32" fmla="*/ 259303 h 421851"/>
              <a:gd name="connsiteX33" fmla="*/ 241581 w 551492"/>
              <a:gd name="connsiteY33" fmla="*/ 279944 h 421851"/>
              <a:gd name="connsiteX34" fmla="*/ 263543 w 551492"/>
              <a:gd name="connsiteY34" fmla="*/ 279944 h 421851"/>
              <a:gd name="connsiteX35" fmla="*/ 352682 w 551492"/>
              <a:gd name="connsiteY35" fmla="*/ 368958 h 421851"/>
              <a:gd name="connsiteX36" fmla="*/ 352682 w 551492"/>
              <a:gd name="connsiteY36" fmla="*/ 393470 h 421851"/>
              <a:gd name="connsiteX37" fmla="*/ 325553 w 551492"/>
              <a:gd name="connsiteY37" fmla="*/ 421851 h 421851"/>
              <a:gd name="connsiteX38" fmla="*/ 28421 w 551492"/>
              <a:gd name="connsiteY38" fmla="*/ 421851 h 421851"/>
              <a:gd name="connsiteX39" fmla="*/ 0 w 551492"/>
              <a:gd name="connsiteY39" fmla="*/ 393470 h 421851"/>
              <a:gd name="connsiteX40" fmla="*/ 0 w 551492"/>
              <a:gd name="connsiteY40" fmla="*/ 368958 h 421851"/>
              <a:gd name="connsiteX41" fmla="*/ 89139 w 551492"/>
              <a:gd name="connsiteY41" fmla="*/ 279944 h 421851"/>
              <a:gd name="connsiteX42" fmla="*/ 112393 w 551492"/>
              <a:gd name="connsiteY42" fmla="*/ 279944 h 421851"/>
              <a:gd name="connsiteX43" fmla="*/ 133063 w 551492"/>
              <a:gd name="connsiteY43" fmla="*/ 259303 h 421851"/>
              <a:gd name="connsiteX44" fmla="*/ 127896 w 551492"/>
              <a:gd name="connsiteY44" fmla="*/ 247692 h 421851"/>
              <a:gd name="connsiteX45" fmla="*/ 95599 w 551492"/>
              <a:gd name="connsiteY45" fmla="*/ 198670 h 421851"/>
              <a:gd name="connsiteX46" fmla="*/ 91723 w 551492"/>
              <a:gd name="connsiteY46" fmla="*/ 199960 h 421851"/>
              <a:gd name="connsiteX47" fmla="*/ 63302 w 551492"/>
              <a:gd name="connsiteY47" fmla="*/ 152228 h 421851"/>
              <a:gd name="connsiteX48" fmla="*/ 78804 w 551492"/>
              <a:gd name="connsiteY48" fmla="*/ 117396 h 421851"/>
              <a:gd name="connsiteX49" fmla="*/ 81388 w 551492"/>
              <a:gd name="connsiteY49" fmla="*/ 117396 h 421851"/>
              <a:gd name="connsiteX50" fmla="*/ 176987 w 551492"/>
              <a:gd name="connsiteY50" fmla="*/ 0 h 42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51492" h="421851">
                <a:moveTo>
                  <a:pt x="361794" y="308363"/>
                </a:moveTo>
                <a:lnTo>
                  <a:pt x="530845" y="308363"/>
                </a:lnTo>
                <a:cubicBezTo>
                  <a:pt x="541168" y="308363"/>
                  <a:pt x="551492" y="317411"/>
                  <a:pt x="551492" y="329044"/>
                </a:cubicBezTo>
                <a:lnTo>
                  <a:pt x="551492" y="362650"/>
                </a:lnTo>
                <a:cubicBezTo>
                  <a:pt x="551492" y="374283"/>
                  <a:pt x="541168" y="383331"/>
                  <a:pt x="530845" y="383331"/>
                </a:cubicBezTo>
                <a:lnTo>
                  <a:pt x="378570" y="383331"/>
                </a:lnTo>
                <a:lnTo>
                  <a:pt x="378570" y="369113"/>
                </a:lnTo>
                <a:cubicBezTo>
                  <a:pt x="378570" y="347140"/>
                  <a:pt x="372118" y="326459"/>
                  <a:pt x="361794" y="308363"/>
                </a:cubicBezTo>
                <a:close/>
                <a:moveTo>
                  <a:pt x="313904" y="172924"/>
                </a:moveTo>
                <a:lnTo>
                  <a:pt x="530832" y="172924"/>
                </a:lnTo>
                <a:cubicBezTo>
                  <a:pt x="541162" y="172924"/>
                  <a:pt x="551492" y="181947"/>
                  <a:pt x="551492" y="193548"/>
                </a:cubicBezTo>
                <a:lnTo>
                  <a:pt x="551492" y="225772"/>
                </a:lnTo>
                <a:cubicBezTo>
                  <a:pt x="551492" y="237373"/>
                  <a:pt x="541162" y="247685"/>
                  <a:pt x="530832" y="247685"/>
                </a:cubicBezTo>
                <a:lnTo>
                  <a:pt x="271293" y="247685"/>
                </a:lnTo>
                <a:lnTo>
                  <a:pt x="271293" y="227061"/>
                </a:lnTo>
                <a:cubicBezTo>
                  <a:pt x="271293" y="225772"/>
                  <a:pt x="272584" y="225772"/>
                  <a:pt x="272584" y="224483"/>
                </a:cubicBezTo>
                <a:cubicBezTo>
                  <a:pt x="293244" y="218038"/>
                  <a:pt x="307448" y="194837"/>
                  <a:pt x="313904" y="172924"/>
                </a:cubicBezTo>
                <a:close/>
                <a:moveTo>
                  <a:pt x="281648" y="36241"/>
                </a:moveTo>
                <a:lnTo>
                  <a:pt x="530834" y="36241"/>
                </a:lnTo>
                <a:cubicBezTo>
                  <a:pt x="541163" y="36241"/>
                  <a:pt x="551492" y="46553"/>
                  <a:pt x="551492" y="58154"/>
                </a:cubicBezTo>
                <a:lnTo>
                  <a:pt x="551492" y="90378"/>
                </a:lnTo>
                <a:cubicBezTo>
                  <a:pt x="551492" y="101979"/>
                  <a:pt x="541163" y="111002"/>
                  <a:pt x="530834" y="111002"/>
                </a:cubicBezTo>
                <a:lnTo>
                  <a:pt x="308761" y="111002"/>
                </a:lnTo>
                <a:cubicBezTo>
                  <a:pt x="304888" y="104557"/>
                  <a:pt x="301015" y="99401"/>
                  <a:pt x="295850" y="96823"/>
                </a:cubicBezTo>
                <a:cubicBezTo>
                  <a:pt x="293268" y="72333"/>
                  <a:pt x="288104" y="52998"/>
                  <a:pt x="281648" y="36241"/>
                </a:cubicBezTo>
                <a:close/>
                <a:moveTo>
                  <a:pt x="176987" y="0"/>
                </a:moveTo>
                <a:cubicBezTo>
                  <a:pt x="257083" y="0"/>
                  <a:pt x="270002" y="64503"/>
                  <a:pt x="271294" y="117396"/>
                </a:cubicBezTo>
                <a:cubicBezTo>
                  <a:pt x="272586" y="117396"/>
                  <a:pt x="273878" y="117396"/>
                  <a:pt x="276461" y="117396"/>
                </a:cubicBezTo>
                <a:cubicBezTo>
                  <a:pt x="289380" y="117396"/>
                  <a:pt x="290672" y="132877"/>
                  <a:pt x="290672" y="152228"/>
                </a:cubicBezTo>
                <a:cubicBezTo>
                  <a:pt x="290672" y="171579"/>
                  <a:pt x="275169" y="199960"/>
                  <a:pt x="262251" y="199960"/>
                </a:cubicBezTo>
                <a:cubicBezTo>
                  <a:pt x="260959" y="199960"/>
                  <a:pt x="258375" y="198670"/>
                  <a:pt x="257083" y="197380"/>
                </a:cubicBezTo>
                <a:cubicBezTo>
                  <a:pt x="249332" y="216731"/>
                  <a:pt x="237705" y="233502"/>
                  <a:pt x="224786" y="247692"/>
                </a:cubicBezTo>
                <a:cubicBezTo>
                  <a:pt x="220911" y="250272"/>
                  <a:pt x="219619" y="254143"/>
                  <a:pt x="219619" y="259303"/>
                </a:cubicBezTo>
                <a:cubicBezTo>
                  <a:pt x="219619" y="270913"/>
                  <a:pt x="228662" y="279944"/>
                  <a:pt x="241581" y="279944"/>
                </a:cubicBezTo>
                <a:lnTo>
                  <a:pt x="263543" y="279944"/>
                </a:lnTo>
                <a:cubicBezTo>
                  <a:pt x="312634" y="279944"/>
                  <a:pt x="352682" y="319936"/>
                  <a:pt x="352682" y="368958"/>
                </a:cubicBezTo>
                <a:lnTo>
                  <a:pt x="352682" y="393470"/>
                </a:lnTo>
                <a:cubicBezTo>
                  <a:pt x="352682" y="408950"/>
                  <a:pt x="341055" y="421851"/>
                  <a:pt x="325553" y="421851"/>
                </a:cubicBezTo>
                <a:lnTo>
                  <a:pt x="28421" y="421851"/>
                </a:lnTo>
                <a:cubicBezTo>
                  <a:pt x="12919" y="421851"/>
                  <a:pt x="0" y="408950"/>
                  <a:pt x="0" y="393470"/>
                </a:cubicBezTo>
                <a:lnTo>
                  <a:pt x="0" y="368958"/>
                </a:lnTo>
                <a:cubicBezTo>
                  <a:pt x="0" y="319936"/>
                  <a:pt x="40048" y="279944"/>
                  <a:pt x="89139" y="279944"/>
                </a:cubicBezTo>
                <a:lnTo>
                  <a:pt x="112393" y="279944"/>
                </a:lnTo>
                <a:cubicBezTo>
                  <a:pt x="124020" y="279944"/>
                  <a:pt x="133063" y="270913"/>
                  <a:pt x="133063" y="259303"/>
                </a:cubicBezTo>
                <a:cubicBezTo>
                  <a:pt x="133063" y="254143"/>
                  <a:pt x="131771" y="250272"/>
                  <a:pt x="127896" y="247692"/>
                </a:cubicBezTo>
                <a:cubicBezTo>
                  <a:pt x="114977" y="234792"/>
                  <a:pt x="104642" y="216731"/>
                  <a:pt x="95599" y="198670"/>
                </a:cubicBezTo>
                <a:cubicBezTo>
                  <a:pt x="94307" y="199960"/>
                  <a:pt x="93015" y="199960"/>
                  <a:pt x="91723" y="199960"/>
                </a:cubicBezTo>
                <a:cubicBezTo>
                  <a:pt x="78804" y="199960"/>
                  <a:pt x="63302" y="171579"/>
                  <a:pt x="63302" y="152228"/>
                </a:cubicBezTo>
                <a:cubicBezTo>
                  <a:pt x="63302" y="132877"/>
                  <a:pt x="65886" y="117396"/>
                  <a:pt x="78804" y="117396"/>
                </a:cubicBezTo>
                <a:cubicBezTo>
                  <a:pt x="80096" y="117396"/>
                  <a:pt x="80096" y="117396"/>
                  <a:pt x="81388" y="117396"/>
                </a:cubicBezTo>
                <a:cubicBezTo>
                  <a:pt x="82680" y="64503"/>
                  <a:pt x="93015" y="0"/>
                  <a:pt x="176987" y="0"/>
                </a:cubicBezTo>
                <a:close/>
              </a:path>
            </a:pathLst>
          </a:custGeom>
          <a:solidFill>
            <a:schemeClr val="tx2"/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5" name="ïṧ1îḍé"/>
          <p:cNvSpPr/>
          <p:nvPr/>
        </p:nvSpPr>
        <p:spPr>
          <a:xfrm>
            <a:off x="1044816" y="5130232"/>
            <a:ext cx="342742" cy="34274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FFFFFF">
                <a:lumMod val="50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rPr>
              <a:t>1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6" name="ïṧḻïḑe"/>
          <p:cNvSpPr/>
          <p:nvPr/>
        </p:nvSpPr>
        <p:spPr>
          <a:xfrm>
            <a:off x="2144972" y="2819644"/>
            <a:ext cx="1755000" cy="2481960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7" name="iŝlîḋé"/>
          <p:cNvSpPr/>
          <p:nvPr/>
        </p:nvSpPr>
        <p:spPr>
          <a:xfrm>
            <a:off x="2763897" y="2561067"/>
            <a:ext cx="517152" cy="51715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8" name="ïšļïḍé"/>
          <p:cNvSpPr/>
          <p:nvPr/>
        </p:nvSpPr>
        <p:spPr>
          <a:xfrm>
            <a:off x="2898646" y="2710644"/>
            <a:ext cx="247653" cy="217996"/>
          </a:xfrm>
          <a:custGeom>
            <a:avLst/>
            <a:gdLst>
              <a:gd name="connsiteX0" fmla="*/ 18335 w 604256"/>
              <a:gd name="connsiteY0" fmla="*/ 334272 h 531895"/>
              <a:gd name="connsiteX1" fmla="*/ 37988 w 604256"/>
              <a:gd name="connsiteY1" fmla="*/ 336249 h 531895"/>
              <a:gd name="connsiteX2" fmla="*/ 302130 w 604256"/>
              <a:gd name="connsiteY2" fmla="*/ 476833 h 531895"/>
              <a:gd name="connsiteX3" fmla="*/ 566126 w 604256"/>
              <a:gd name="connsiteY3" fmla="*/ 336249 h 531895"/>
              <a:gd name="connsiteX4" fmla="*/ 601178 w 604256"/>
              <a:gd name="connsiteY4" fmla="*/ 346793 h 531895"/>
              <a:gd name="connsiteX5" fmla="*/ 590619 w 604256"/>
              <a:gd name="connsiteY5" fmla="*/ 381793 h 531895"/>
              <a:gd name="connsiteX6" fmla="*/ 314303 w 604256"/>
              <a:gd name="connsiteY6" fmla="*/ 528820 h 531895"/>
              <a:gd name="connsiteX7" fmla="*/ 302130 w 604256"/>
              <a:gd name="connsiteY7" fmla="*/ 531895 h 531895"/>
              <a:gd name="connsiteX8" fmla="*/ 289957 w 604256"/>
              <a:gd name="connsiteY8" fmla="*/ 528820 h 531895"/>
              <a:gd name="connsiteX9" fmla="*/ 13641 w 604256"/>
              <a:gd name="connsiteY9" fmla="*/ 381793 h 531895"/>
              <a:gd name="connsiteX10" fmla="*/ 3082 w 604256"/>
              <a:gd name="connsiteY10" fmla="*/ 346793 h 531895"/>
              <a:gd name="connsiteX11" fmla="*/ 18335 w 604256"/>
              <a:gd name="connsiteY11" fmla="*/ 334272 h 531895"/>
              <a:gd name="connsiteX12" fmla="*/ 18335 w 604256"/>
              <a:gd name="connsiteY12" fmla="*/ 233364 h 531895"/>
              <a:gd name="connsiteX13" fmla="*/ 37988 w 604256"/>
              <a:gd name="connsiteY13" fmla="*/ 235341 h 531895"/>
              <a:gd name="connsiteX14" fmla="*/ 302130 w 604256"/>
              <a:gd name="connsiteY14" fmla="*/ 375925 h 531895"/>
              <a:gd name="connsiteX15" fmla="*/ 566126 w 604256"/>
              <a:gd name="connsiteY15" fmla="*/ 235341 h 531895"/>
              <a:gd name="connsiteX16" fmla="*/ 601178 w 604256"/>
              <a:gd name="connsiteY16" fmla="*/ 245885 h 531895"/>
              <a:gd name="connsiteX17" fmla="*/ 590619 w 604256"/>
              <a:gd name="connsiteY17" fmla="*/ 280885 h 531895"/>
              <a:gd name="connsiteX18" fmla="*/ 314303 w 604256"/>
              <a:gd name="connsiteY18" fmla="*/ 428058 h 531895"/>
              <a:gd name="connsiteX19" fmla="*/ 302130 w 604256"/>
              <a:gd name="connsiteY19" fmla="*/ 430987 h 531895"/>
              <a:gd name="connsiteX20" fmla="*/ 289957 w 604256"/>
              <a:gd name="connsiteY20" fmla="*/ 428058 h 531895"/>
              <a:gd name="connsiteX21" fmla="*/ 13641 w 604256"/>
              <a:gd name="connsiteY21" fmla="*/ 280885 h 531895"/>
              <a:gd name="connsiteX22" fmla="*/ 3082 w 604256"/>
              <a:gd name="connsiteY22" fmla="*/ 245885 h 531895"/>
              <a:gd name="connsiteX23" fmla="*/ 18335 w 604256"/>
              <a:gd name="connsiteY23" fmla="*/ 233364 h 531895"/>
              <a:gd name="connsiteX24" fmla="*/ 291571 w 604256"/>
              <a:gd name="connsiteY24" fmla="*/ 2196 h 531895"/>
              <a:gd name="connsiteX25" fmla="*/ 312689 w 604256"/>
              <a:gd name="connsiteY25" fmla="*/ 2196 h 531895"/>
              <a:gd name="connsiteX26" fmla="*/ 588846 w 604256"/>
              <a:gd name="connsiteY26" fmla="*/ 125214 h 531895"/>
              <a:gd name="connsiteX27" fmla="*/ 604245 w 604256"/>
              <a:gd name="connsiteY27" fmla="*/ 147914 h 531895"/>
              <a:gd name="connsiteX28" fmla="*/ 590605 w 604256"/>
              <a:gd name="connsiteY28" fmla="*/ 171639 h 531895"/>
              <a:gd name="connsiteX29" fmla="*/ 314303 w 604256"/>
              <a:gd name="connsiteY29" fmla="*/ 318676 h 531895"/>
              <a:gd name="connsiteX30" fmla="*/ 302130 w 604256"/>
              <a:gd name="connsiteY30" fmla="*/ 321751 h 531895"/>
              <a:gd name="connsiteX31" fmla="*/ 289957 w 604256"/>
              <a:gd name="connsiteY31" fmla="*/ 318676 h 531895"/>
              <a:gd name="connsiteX32" fmla="*/ 13654 w 604256"/>
              <a:gd name="connsiteY32" fmla="*/ 171639 h 531895"/>
              <a:gd name="connsiteX33" fmla="*/ 15 w 604256"/>
              <a:gd name="connsiteY33" fmla="*/ 147914 h 531895"/>
              <a:gd name="connsiteX34" fmla="*/ 15414 w 604256"/>
              <a:gd name="connsiteY34" fmla="*/ 125214 h 531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4256" h="531895">
                <a:moveTo>
                  <a:pt x="18335" y="334272"/>
                </a:moveTo>
                <a:cubicBezTo>
                  <a:pt x="24642" y="332369"/>
                  <a:pt x="31682" y="332881"/>
                  <a:pt x="37988" y="336249"/>
                </a:cubicBezTo>
                <a:lnTo>
                  <a:pt x="302130" y="476833"/>
                </a:lnTo>
                <a:lnTo>
                  <a:pt x="566126" y="336249"/>
                </a:lnTo>
                <a:cubicBezTo>
                  <a:pt x="578739" y="329513"/>
                  <a:pt x="594432" y="334199"/>
                  <a:pt x="601178" y="346793"/>
                </a:cubicBezTo>
                <a:cubicBezTo>
                  <a:pt x="607925" y="359387"/>
                  <a:pt x="603085" y="375056"/>
                  <a:pt x="590619" y="381793"/>
                </a:cubicBezTo>
                <a:lnTo>
                  <a:pt x="314303" y="528820"/>
                </a:lnTo>
                <a:cubicBezTo>
                  <a:pt x="310490" y="530870"/>
                  <a:pt x="306383" y="531895"/>
                  <a:pt x="302130" y="531895"/>
                </a:cubicBezTo>
                <a:cubicBezTo>
                  <a:pt x="297877" y="531895"/>
                  <a:pt x="293770" y="530870"/>
                  <a:pt x="289957" y="528820"/>
                </a:cubicBezTo>
                <a:lnTo>
                  <a:pt x="13641" y="381793"/>
                </a:lnTo>
                <a:cubicBezTo>
                  <a:pt x="1028" y="375056"/>
                  <a:pt x="-3665" y="359387"/>
                  <a:pt x="3082" y="346793"/>
                </a:cubicBezTo>
                <a:cubicBezTo>
                  <a:pt x="6455" y="340496"/>
                  <a:pt x="12028" y="336176"/>
                  <a:pt x="18335" y="334272"/>
                </a:cubicBezTo>
                <a:close/>
                <a:moveTo>
                  <a:pt x="18335" y="233364"/>
                </a:moveTo>
                <a:cubicBezTo>
                  <a:pt x="24642" y="231461"/>
                  <a:pt x="31682" y="231973"/>
                  <a:pt x="37988" y="235341"/>
                </a:cubicBezTo>
                <a:lnTo>
                  <a:pt x="302130" y="375925"/>
                </a:lnTo>
                <a:lnTo>
                  <a:pt x="566126" y="235341"/>
                </a:lnTo>
                <a:cubicBezTo>
                  <a:pt x="578739" y="228605"/>
                  <a:pt x="594432" y="233291"/>
                  <a:pt x="601178" y="245885"/>
                </a:cubicBezTo>
                <a:cubicBezTo>
                  <a:pt x="607925" y="258479"/>
                  <a:pt x="603085" y="274148"/>
                  <a:pt x="590619" y="280885"/>
                </a:cubicBezTo>
                <a:lnTo>
                  <a:pt x="314303" y="428058"/>
                </a:lnTo>
                <a:cubicBezTo>
                  <a:pt x="310490" y="430108"/>
                  <a:pt x="306383" y="430987"/>
                  <a:pt x="302130" y="430987"/>
                </a:cubicBezTo>
                <a:cubicBezTo>
                  <a:pt x="297877" y="430987"/>
                  <a:pt x="293770" y="430108"/>
                  <a:pt x="289957" y="428058"/>
                </a:cubicBezTo>
                <a:lnTo>
                  <a:pt x="13641" y="280885"/>
                </a:lnTo>
                <a:cubicBezTo>
                  <a:pt x="1028" y="274148"/>
                  <a:pt x="-3665" y="258479"/>
                  <a:pt x="3082" y="245885"/>
                </a:cubicBezTo>
                <a:cubicBezTo>
                  <a:pt x="6455" y="239588"/>
                  <a:pt x="12028" y="235268"/>
                  <a:pt x="18335" y="233364"/>
                </a:cubicBezTo>
                <a:close/>
                <a:moveTo>
                  <a:pt x="291571" y="2196"/>
                </a:moveTo>
                <a:cubicBezTo>
                  <a:pt x="298317" y="-733"/>
                  <a:pt x="305943" y="-733"/>
                  <a:pt x="312689" y="2196"/>
                </a:cubicBezTo>
                <a:lnTo>
                  <a:pt x="588846" y="125214"/>
                </a:lnTo>
                <a:cubicBezTo>
                  <a:pt x="597938" y="129315"/>
                  <a:pt x="603805" y="138102"/>
                  <a:pt x="604245" y="147914"/>
                </a:cubicBezTo>
                <a:cubicBezTo>
                  <a:pt x="604538" y="157726"/>
                  <a:pt x="599258" y="166953"/>
                  <a:pt x="590605" y="171639"/>
                </a:cubicBezTo>
                <a:lnTo>
                  <a:pt x="314303" y="318676"/>
                </a:lnTo>
                <a:cubicBezTo>
                  <a:pt x="310489" y="320726"/>
                  <a:pt x="306383" y="321751"/>
                  <a:pt x="302130" y="321751"/>
                </a:cubicBezTo>
                <a:cubicBezTo>
                  <a:pt x="297877" y="321751"/>
                  <a:pt x="293771" y="320726"/>
                  <a:pt x="289957" y="318676"/>
                </a:cubicBezTo>
                <a:lnTo>
                  <a:pt x="13654" y="171639"/>
                </a:lnTo>
                <a:cubicBezTo>
                  <a:pt x="5002" y="166953"/>
                  <a:pt x="-278" y="157726"/>
                  <a:pt x="15" y="147914"/>
                </a:cubicBezTo>
                <a:cubicBezTo>
                  <a:pt x="309" y="138102"/>
                  <a:pt x="6322" y="129315"/>
                  <a:pt x="15414" y="125214"/>
                </a:cubicBezTo>
                <a:close/>
              </a:path>
            </a:pathLst>
          </a:custGeom>
          <a:solidFill>
            <a:schemeClr val="tx2"/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9" name="îSḻîḓê"/>
          <p:cNvSpPr/>
          <p:nvPr/>
        </p:nvSpPr>
        <p:spPr>
          <a:xfrm>
            <a:off x="2851101" y="5130232"/>
            <a:ext cx="342742" cy="34274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rPr>
              <a:t>2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0" name="iŝļiḓe"/>
          <p:cNvSpPr/>
          <p:nvPr/>
        </p:nvSpPr>
        <p:spPr>
          <a:xfrm>
            <a:off x="3951258" y="2437241"/>
            <a:ext cx="1755000" cy="2864362"/>
          </a:xfrm>
          <a:prstGeom prst="rect">
            <a:avLst/>
          </a:prstGeom>
          <a:solidFill>
            <a:schemeClr val="tx2">
              <a:lumMod val="50000"/>
            </a:schemeClr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1" name="iŝľîdè"/>
          <p:cNvSpPr/>
          <p:nvPr/>
        </p:nvSpPr>
        <p:spPr>
          <a:xfrm>
            <a:off x="4570182" y="2178665"/>
            <a:ext cx="517152" cy="51715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2" name="íš1iḓè"/>
          <p:cNvSpPr/>
          <p:nvPr/>
        </p:nvSpPr>
        <p:spPr>
          <a:xfrm>
            <a:off x="4704931" y="2313601"/>
            <a:ext cx="247653" cy="24727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tx2"/>
          </a:solidFill>
          <a:ln w="3175" cap="flat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3" name="ïšliḑé"/>
          <p:cNvSpPr/>
          <p:nvPr/>
        </p:nvSpPr>
        <p:spPr>
          <a:xfrm>
            <a:off x="4657387" y="5130232"/>
            <a:ext cx="342742" cy="34274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/>
          <a:p>
            <a:pPr marL="0" marR="0" lvl="0" indent="0" algn="ctr" defTabSz="9137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rPr>
              <a:t>3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4" name="ïsľîďè"/>
          <p:cNvSpPr/>
          <p:nvPr/>
        </p:nvSpPr>
        <p:spPr bwMode="auto">
          <a:xfrm>
            <a:off x="319916" y="3675918"/>
            <a:ext cx="1888690" cy="134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统计基础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SS/R/Python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应用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îs1ïḓê"/>
          <p:cNvSpPr/>
          <p:nvPr/>
        </p:nvSpPr>
        <p:spPr bwMode="auto">
          <a:xfrm>
            <a:off x="2208606" y="3180693"/>
            <a:ext cx="1627734" cy="134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挖掘导论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建模应用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案例演练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宏观业务决策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编程技术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分析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íSḻïḋè"/>
          <p:cNvSpPr/>
          <p:nvPr/>
        </p:nvSpPr>
        <p:spPr bwMode="auto">
          <a:xfrm>
            <a:off x="4014891" y="2798290"/>
            <a:ext cx="1627734" cy="134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治理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架构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学习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策略与管理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iśḷiḍè"/>
          <p:cNvSpPr txBox="1"/>
          <p:nvPr/>
        </p:nvSpPr>
        <p:spPr>
          <a:xfrm>
            <a:off x="679964" y="5431570"/>
            <a:ext cx="1072443" cy="36294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endParaRPr lang="id-ID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íṥlîḓê"/>
          <p:cNvSpPr txBox="1"/>
          <p:nvPr/>
        </p:nvSpPr>
        <p:spPr>
          <a:xfrm>
            <a:off x="4292535" y="5425243"/>
            <a:ext cx="1072443" cy="36294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endParaRPr lang="id-ID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îS1ïḋé"/>
          <p:cNvSpPr txBox="1"/>
          <p:nvPr/>
        </p:nvSpPr>
        <p:spPr>
          <a:xfrm>
            <a:off x="2486251" y="5416367"/>
            <a:ext cx="1072443" cy="36294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</a:t>
            </a:r>
            <a:endParaRPr lang="id-ID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75844" y="962581"/>
            <a:ext cx="9171729" cy="12358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（</a:t>
            </a:r>
            <a:r>
              <a:rPr kumimoji="1"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rtified Data Analyst</a:t>
            </a:r>
            <a:r>
              <a:rPr kumimoji="1"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 注册数据分析师）</a:t>
            </a:r>
            <a:endParaRPr kumimoji="1" lang="en-US" altLang="zh-CN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GB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是全球化的数据人才认证体系，在国内由教育部中国成人教育委员会大数据专业委员会监管</a:t>
            </a:r>
            <a:endParaRPr kumimoji="1"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GB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DA</a:t>
            </a:r>
            <a:r>
              <a:rPr kumimoji="1"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kumimoji="1"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全国</a:t>
            </a:r>
            <a:r>
              <a:rPr kumimoji="1" lang="zh-CN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的经国标委发布认定</a:t>
            </a:r>
            <a:r>
              <a:rPr kumimoji="1"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数据分析师人才标准</a:t>
            </a:r>
            <a:endParaRPr kumimoji="1"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6321183" y="2437241"/>
            <a:ext cx="3197582" cy="2491973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kumimoji="1" sz="14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起步早：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内最早的标准提出者</a:t>
            </a:r>
            <a:endParaRPr kumimoji="1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标准高：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必须通过考试获得证书</a:t>
            </a:r>
            <a:endParaRPr kumimoji="1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规模大：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累计参与人数破万人</a:t>
            </a:r>
            <a:endParaRPr kumimoji="1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共识强：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众多知名企业参与</a:t>
            </a:r>
            <a:endParaRPr kumimoji="1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立性：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以考生为中心，客观公正</a:t>
            </a:r>
            <a:endParaRPr kumimoji="1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等腰三角形 22"/>
          <p:cNvSpPr/>
          <p:nvPr/>
        </p:nvSpPr>
        <p:spPr bwMode="auto">
          <a:xfrm rot="5400000">
            <a:off x="4824237" y="3675840"/>
            <a:ext cx="2359602" cy="147145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452438" y="5753807"/>
            <a:ext cx="9108251" cy="779643"/>
          </a:xfrm>
          <a:prstGeom prst="roundRect">
            <a:avLst>
              <a:gd name="adj" fmla="val 9845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square" lIns="144000" anchor="ctr" anchorCtr="0">
            <a:no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78155"/>
          </a:xfrm>
        </p:spPr>
        <p:txBody>
          <a:bodyPr/>
          <a:lstStyle/>
          <a:p>
            <a:r>
              <a:rPr lang="zh-CN" altLang="en-US" dirty="0"/>
              <a:t>经过</a:t>
            </a:r>
            <a:r>
              <a:rPr lang="en-US" altLang="zh-CN" dirty="0"/>
              <a:t>7</a:t>
            </a:r>
            <a:r>
              <a:rPr lang="zh-CN" altLang="en-US" dirty="0"/>
              <a:t>年的积累，</a:t>
            </a:r>
            <a:r>
              <a:rPr lang="en-US" altLang="zh-CN" dirty="0"/>
              <a:t>CDA</a:t>
            </a:r>
            <a:r>
              <a:rPr lang="zh-CN" altLang="en-US" dirty="0"/>
              <a:t> 已经获得了官方的认可</a:t>
            </a:r>
            <a:endParaRPr kumimoji="1"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450073" y="2699126"/>
            <a:ext cx="1712284" cy="1141933"/>
          </a:xfrm>
          <a:prstGeom prst="rect">
            <a:avLst/>
          </a:prstGeom>
          <a:blipFill>
            <a:blip r:embed="rId1" cstate="email"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6415776" y="3486240"/>
            <a:ext cx="2785522" cy="184355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415775" y="2626088"/>
            <a:ext cx="2785521" cy="128286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602559" y="1001566"/>
            <a:ext cx="6419204" cy="52129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en-GB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 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全国唯一的经国家标准化管理委员会认定的数据分析师标准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连接符 2"/>
          <p:cNvCxnSpPr/>
          <p:nvPr/>
        </p:nvCxnSpPr>
        <p:spPr>
          <a:xfrm>
            <a:off x="5140007" y="2656196"/>
            <a:ext cx="0" cy="2647316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</a:ln>
          <a:effectLst/>
        </p:spPr>
      </p:cxnSp>
      <p:sp>
        <p:nvSpPr>
          <p:cNvPr id="10" name="文本框 9"/>
          <p:cNvSpPr txBox="1"/>
          <p:nvPr/>
        </p:nvSpPr>
        <p:spPr>
          <a:xfrm>
            <a:off x="427451" y="1001566"/>
            <a:ext cx="2175108" cy="52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标准制定者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37340" y="2802490"/>
            <a:ext cx="778504" cy="25722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官方背书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370794" y="2656196"/>
            <a:ext cx="933406" cy="26526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导视察认证考试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三角形 12"/>
          <p:cNvSpPr/>
          <p:nvPr/>
        </p:nvSpPr>
        <p:spPr bwMode="auto">
          <a:xfrm rot="10800000">
            <a:off x="1916507" y="5520854"/>
            <a:ext cx="5323743" cy="204793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27450" y="1801609"/>
            <a:ext cx="85943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部中成协认可 </a:t>
            </a:r>
            <a:r>
              <a:rPr lang="en-US" altLang="zh-CN" sz="2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2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人才标准并颁发证书</a:t>
            </a:r>
            <a:endParaRPr lang="en-US" altLang="zh-CN" sz="2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5" name="椭圆 14"/>
          <p:cNvSpPr/>
          <p:nvPr/>
        </p:nvSpPr>
        <p:spPr bwMode="auto">
          <a:xfrm>
            <a:off x="563387" y="6004132"/>
            <a:ext cx="360000" cy="360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300" b="1" dirty="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</a:t>
            </a:r>
            <a:endParaRPr lang="zh-CN" altLang="en-US" sz="1300" b="1" dirty="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6" name="椭圆 15"/>
          <p:cNvSpPr/>
          <p:nvPr/>
        </p:nvSpPr>
        <p:spPr bwMode="auto">
          <a:xfrm>
            <a:off x="6304200" y="6004132"/>
            <a:ext cx="360000" cy="360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300" b="1" dirty="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3</a:t>
            </a:r>
            <a:endParaRPr lang="zh-CN" altLang="en-US" sz="1300" b="1" dirty="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423499" y="5922522"/>
            <a:ext cx="2786873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建立高校大数据教育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盟提供支撑</a:t>
            </a:r>
            <a:endParaRPr lang="zh-CN" altLang="en-US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456626" y="5922522"/>
            <a:ext cx="2786873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输出</a:t>
            </a:r>
            <a: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培训机构</a:t>
            </a:r>
            <a:endParaRPr lang="zh-CN" altLang="en-US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椭圆 18"/>
          <p:cNvSpPr/>
          <p:nvPr/>
        </p:nvSpPr>
        <p:spPr bwMode="auto">
          <a:xfrm>
            <a:off x="3165109" y="6004132"/>
            <a:ext cx="360000" cy="360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300" b="1" dirty="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</a:t>
            </a:r>
            <a:endParaRPr lang="zh-CN" altLang="en-US" sz="1300" b="1" dirty="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6611500" y="5931044"/>
            <a:ext cx="2657463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、证书</a:t>
            </a:r>
            <a:b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获得进一步背书</a:t>
            </a:r>
            <a:endParaRPr lang="zh-CN" altLang="en-US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4" cstate="hqprint"/>
          <a:srcRect/>
          <a:stretch>
            <a:fillRect/>
          </a:stretch>
        </p:blipFill>
        <p:spPr>
          <a:xfrm rot="16200000">
            <a:off x="1685452" y="3922273"/>
            <a:ext cx="1247362" cy="1694929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2189" y="2779259"/>
            <a:ext cx="1822030" cy="2572277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lang="en-US" altLang="zh-CN" dirty="0"/>
              <a:t>……</a:t>
            </a:r>
            <a:r>
              <a:rPr lang="zh-CN" altLang="en-US" dirty="0"/>
              <a:t>并逐步建立起</a:t>
            </a:r>
            <a:r>
              <a:rPr kumimoji="1" lang="zh-CN" altLang="en-US" dirty="0"/>
              <a:t>广泛链接的高校合作网络</a:t>
            </a:r>
            <a:endParaRPr kumimoji="1" lang="zh-CN" altLang="en-US" dirty="0"/>
          </a:p>
        </p:txBody>
      </p:sp>
      <p:sp>
        <p:nvSpPr>
          <p:cNvPr id="83" name="î$ḻiḑè"/>
          <p:cNvSpPr txBox="1"/>
          <p:nvPr/>
        </p:nvSpPr>
        <p:spPr bwMode="auto">
          <a:xfrm>
            <a:off x="5260083" y="1041376"/>
            <a:ext cx="3122369" cy="330938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tIns="46800" rIns="90000" bIns="4680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部分合作高校</a:t>
            </a:r>
            <a:endParaRPr kumimoji="0" lang="en-US" altLang="zh-CN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84" name="直接连接符 57"/>
          <p:cNvCxnSpPr/>
          <p:nvPr/>
        </p:nvCxnSpPr>
        <p:spPr>
          <a:xfrm>
            <a:off x="5180735" y="1393346"/>
            <a:ext cx="3575913" cy="0"/>
          </a:xfrm>
          <a:prstGeom prst="line">
            <a:avLst/>
          </a:prstGeom>
          <a:noFill/>
          <a:ln w="28575" cap="rnd" cmpd="sng" algn="ctr">
            <a:solidFill>
              <a:srgbClr val="FFFFFF">
                <a:lumMod val="75000"/>
              </a:srgbClr>
            </a:solidFill>
            <a:prstDash val="solid"/>
            <a:round/>
          </a:ln>
          <a:effectLst/>
        </p:spPr>
      </p:cxnSp>
      <p:sp>
        <p:nvSpPr>
          <p:cNvPr id="101" name="矩形 100"/>
          <p:cNvSpPr/>
          <p:nvPr/>
        </p:nvSpPr>
        <p:spPr>
          <a:xfrm>
            <a:off x="95418" y="1206845"/>
            <a:ext cx="4983558" cy="823955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zh-CN" altLang="en-US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累计覆盖高校 </a:t>
            </a:r>
            <a:r>
              <a:rPr lang="en-US" altLang="zh-CN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+</a:t>
            </a:r>
            <a:r>
              <a:rPr lang="zh-CN" altLang="en-US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</a:t>
            </a:r>
            <a:endParaRPr lang="en-US" altLang="zh-CN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iṡḻíḋê"/>
          <p:cNvSpPr/>
          <p:nvPr/>
        </p:nvSpPr>
        <p:spPr>
          <a:xfrm>
            <a:off x="681443" y="2301098"/>
            <a:ext cx="3733033" cy="3093607"/>
          </a:xfrm>
          <a:custGeom>
            <a:avLst/>
            <a:gdLst>
              <a:gd name="connsiteX0" fmla="*/ 3762004 w 5860123"/>
              <a:gd name="connsiteY0" fmla="*/ 4605373 h 4856353"/>
              <a:gd name="connsiteX1" fmla="*/ 3773434 w 5860123"/>
              <a:gd name="connsiteY1" fmla="*/ 4611445 h 4856353"/>
              <a:gd name="connsiteX2" fmla="*/ 3793437 w 5860123"/>
              <a:gd name="connsiteY2" fmla="*/ 4620970 h 4856353"/>
              <a:gd name="connsiteX3" fmla="*/ 3805819 w 5860123"/>
              <a:gd name="connsiteY3" fmla="*/ 4644782 h 4856353"/>
              <a:gd name="connsiteX4" fmla="*/ 3794389 w 5860123"/>
              <a:gd name="connsiteY4" fmla="*/ 4677167 h 4856353"/>
              <a:gd name="connsiteX5" fmla="*/ 3768671 w 5860123"/>
              <a:gd name="connsiteY5" fmla="*/ 4701932 h 4856353"/>
              <a:gd name="connsiteX6" fmla="*/ 3744859 w 5860123"/>
              <a:gd name="connsiteY6" fmla="*/ 4763845 h 4856353"/>
              <a:gd name="connsiteX7" fmla="*/ 3720094 w 5860123"/>
              <a:gd name="connsiteY7" fmla="*/ 4795277 h 4856353"/>
              <a:gd name="connsiteX8" fmla="*/ 3691519 w 5860123"/>
              <a:gd name="connsiteY8" fmla="*/ 4820995 h 4856353"/>
              <a:gd name="connsiteX9" fmla="*/ 3663896 w 5860123"/>
              <a:gd name="connsiteY9" fmla="*/ 4830520 h 4856353"/>
              <a:gd name="connsiteX10" fmla="*/ 3636274 w 5860123"/>
              <a:gd name="connsiteY10" fmla="*/ 4847665 h 4856353"/>
              <a:gd name="connsiteX11" fmla="*/ 3611509 w 5860123"/>
              <a:gd name="connsiteY11" fmla="*/ 4853380 h 4856353"/>
              <a:gd name="connsiteX12" fmla="*/ 3578171 w 5860123"/>
              <a:gd name="connsiteY12" fmla="*/ 4843855 h 4856353"/>
              <a:gd name="connsiteX13" fmla="*/ 3525784 w 5860123"/>
              <a:gd name="connsiteY13" fmla="*/ 4823852 h 4856353"/>
              <a:gd name="connsiteX14" fmla="*/ 3503877 w 5860123"/>
              <a:gd name="connsiteY14" fmla="*/ 4797182 h 4856353"/>
              <a:gd name="connsiteX15" fmla="*/ 3500066 w 5860123"/>
              <a:gd name="connsiteY15" fmla="*/ 4772417 h 4856353"/>
              <a:gd name="connsiteX16" fmla="*/ 3498162 w 5860123"/>
              <a:gd name="connsiteY16" fmla="*/ 4724792 h 4856353"/>
              <a:gd name="connsiteX17" fmla="*/ 3517212 w 5860123"/>
              <a:gd name="connsiteY17" fmla="*/ 4695265 h 4856353"/>
              <a:gd name="connsiteX18" fmla="*/ 3542929 w 5860123"/>
              <a:gd name="connsiteY18" fmla="*/ 4678120 h 4856353"/>
              <a:gd name="connsiteX19" fmla="*/ 3563884 w 5860123"/>
              <a:gd name="connsiteY19" fmla="*/ 4665737 h 4856353"/>
              <a:gd name="connsiteX20" fmla="*/ 3568646 w 5860123"/>
              <a:gd name="connsiteY20" fmla="*/ 4652402 h 4856353"/>
              <a:gd name="connsiteX21" fmla="*/ 3574362 w 5860123"/>
              <a:gd name="connsiteY21" fmla="*/ 4640020 h 4856353"/>
              <a:gd name="connsiteX22" fmla="*/ 3601031 w 5860123"/>
              <a:gd name="connsiteY22" fmla="*/ 4637162 h 4856353"/>
              <a:gd name="connsiteX23" fmla="*/ 3616271 w 5860123"/>
              <a:gd name="connsiteY23" fmla="*/ 4627637 h 4856353"/>
              <a:gd name="connsiteX24" fmla="*/ 3653419 w 5860123"/>
              <a:gd name="connsiteY24" fmla="*/ 4624780 h 4856353"/>
              <a:gd name="connsiteX25" fmla="*/ 3695329 w 5860123"/>
              <a:gd name="connsiteY25" fmla="*/ 4617160 h 4856353"/>
              <a:gd name="connsiteX26" fmla="*/ 3738191 w 5860123"/>
              <a:gd name="connsiteY26" fmla="*/ 4614302 h 4856353"/>
              <a:gd name="connsiteX27" fmla="*/ 3753431 w 5860123"/>
              <a:gd name="connsiteY27" fmla="*/ 4611445 h 4856353"/>
              <a:gd name="connsiteX28" fmla="*/ 3762004 w 5860123"/>
              <a:gd name="connsiteY28" fmla="*/ 4605373 h 4856353"/>
              <a:gd name="connsiteX29" fmla="*/ 4529719 w 5860123"/>
              <a:gd name="connsiteY29" fmla="*/ 4482858 h 4856353"/>
              <a:gd name="connsiteX30" fmla="*/ 4523051 w 5860123"/>
              <a:gd name="connsiteY30" fmla="*/ 4493335 h 4856353"/>
              <a:gd name="connsiteX31" fmla="*/ 4529719 w 5860123"/>
              <a:gd name="connsiteY31" fmla="*/ 4482858 h 4856353"/>
              <a:gd name="connsiteX32" fmla="*/ 3720809 w 5860123"/>
              <a:gd name="connsiteY32" fmla="*/ 4475953 h 4856353"/>
              <a:gd name="connsiteX33" fmla="*/ 3733429 w 5860123"/>
              <a:gd name="connsiteY33" fmla="*/ 4477143 h 4856353"/>
              <a:gd name="connsiteX34" fmla="*/ 3741049 w 5860123"/>
              <a:gd name="connsiteY34" fmla="*/ 4489525 h 4856353"/>
              <a:gd name="connsiteX35" fmla="*/ 3728666 w 5860123"/>
              <a:gd name="connsiteY35" fmla="*/ 4487620 h 4856353"/>
              <a:gd name="connsiteX36" fmla="*/ 3711521 w 5860123"/>
              <a:gd name="connsiteY36" fmla="*/ 4489525 h 4856353"/>
              <a:gd name="connsiteX37" fmla="*/ 3712474 w 5860123"/>
              <a:gd name="connsiteY37" fmla="*/ 4481905 h 4856353"/>
              <a:gd name="connsiteX38" fmla="*/ 3720809 w 5860123"/>
              <a:gd name="connsiteY38" fmla="*/ 4475953 h 4856353"/>
              <a:gd name="connsiteX39" fmla="*/ 3552453 w 5860123"/>
              <a:gd name="connsiteY39" fmla="*/ 4475237 h 4856353"/>
              <a:gd name="connsiteX40" fmla="*/ 3554358 w 5860123"/>
              <a:gd name="connsiteY40" fmla="*/ 4481905 h 4856353"/>
              <a:gd name="connsiteX41" fmla="*/ 3549596 w 5860123"/>
              <a:gd name="connsiteY41" fmla="*/ 4484762 h 4856353"/>
              <a:gd name="connsiteX42" fmla="*/ 3546739 w 5860123"/>
              <a:gd name="connsiteY42" fmla="*/ 4479047 h 4856353"/>
              <a:gd name="connsiteX43" fmla="*/ 3552453 w 5860123"/>
              <a:gd name="connsiteY43" fmla="*/ 4475237 h 4856353"/>
              <a:gd name="connsiteX44" fmla="*/ 4419229 w 5860123"/>
              <a:gd name="connsiteY44" fmla="*/ 4458092 h 4856353"/>
              <a:gd name="connsiteX45" fmla="*/ 4412561 w 5860123"/>
              <a:gd name="connsiteY45" fmla="*/ 4468570 h 4856353"/>
              <a:gd name="connsiteX46" fmla="*/ 4419229 w 5860123"/>
              <a:gd name="connsiteY46" fmla="*/ 4458092 h 4856353"/>
              <a:gd name="connsiteX47" fmla="*/ 4428754 w 5860123"/>
              <a:gd name="connsiteY47" fmla="*/ 4436186 h 4856353"/>
              <a:gd name="connsiteX48" fmla="*/ 4422086 w 5860123"/>
              <a:gd name="connsiteY48" fmla="*/ 4446663 h 4856353"/>
              <a:gd name="connsiteX49" fmla="*/ 4428754 w 5860123"/>
              <a:gd name="connsiteY49" fmla="*/ 4436186 h 4856353"/>
              <a:gd name="connsiteX50" fmla="*/ 4005844 w 5860123"/>
              <a:gd name="connsiteY50" fmla="*/ 4385702 h 4856353"/>
              <a:gd name="connsiteX51" fmla="*/ 4002986 w 5860123"/>
              <a:gd name="connsiteY51" fmla="*/ 4397132 h 4856353"/>
              <a:gd name="connsiteX52" fmla="*/ 3988699 w 5860123"/>
              <a:gd name="connsiteY52" fmla="*/ 4402847 h 4856353"/>
              <a:gd name="connsiteX53" fmla="*/ 3996319 w 5860123"/>
              <a:gd name="connsiteY53" fmla="*/ 4391417 h 4856353"/>
              <a:gd name="connsiteX54" fmla="*/ 4005844 w 5860123"/>
              <a:gd name="connsiteY54" fmla="*/ 4385702 h 4856353"/>
              <a:gd name="connsiteX55" fmla="*/ 4029656 w 5860123"/>
              <a:gd name="connsiteY55" fmla="*/ 4376177 h 4856353"/>
              <a:gd name="connsiteX56" fmla="*/ 4031562 w 5860123"/>
              <a:gd name="connsiteY56" fmla="*/ 4386655 h 4856353"/>
              <a:gd name="connsiteX57" fmla="*/ 4024894 w 5860123"/>
              <a:gd name="connsiteY57" fmla="*/ 4401895 h 4856353"/>
              <a:gd name="connsiteX58" fmla="*/ 4017274 w 5860123"/>
              <a:gd name="connsiteY58" fmla="*/ 4394274 h 4856353"/>
              <a:gd name="connsiteX59" fmla="*/ 4029656 w 5860123"/>
              <a:gd name="connsiteY59" fmla="*/ 4376177 h 4856353"/>
              <a:gd name="connsiteX60" fmla="*/ 4175626 w 5860123"/>
              <a:gd name="connsiteY60" fmla="*/ 4298072 h 4856353"/>
              <a:gd name="connsiteX61" fmla="*/ 4177293 w 5860123"/>
              <a:gd name="connsiteY61" fmla="*/ 4304740 h 4856353"/>
              <a:gd name="connsiteX62" fmla="*/ 4165863 w 5860123"/>
              <a:gd name="connsiteY62" fmla="*/ 4312360 h 4856353"/>
              <a:gd name="connsiteX63" fmla="*/ 4156338 w 5860123"/>
              <a:gd name="connsiteY63" fmla="*/ 4307597 h 4856353"/>
              <a:gd name="connsiteX64" fmla="*/ 4166815 w 5860123"/>
              <a:gd name="connsiteY64" fmla="*/ 4299977 h 4856353"/>
              <a:gd name="connsiteX65" fmla="*/ 4175626 w 5860123"/>
              <a:gd name="connsiteY65" fmla="*/ 4298072 h 4856353"/>
              <a:gd name="connsiteX66" fmla="*/ 5120269 w 5860123"/>
              <a:gd name="connsiteY66" fmla="*/ 4247590 h 4856353"/>
              <a:gd name="connsiteX67" fmla="*/ 5120269 w 5860123"/>
              <a:gd name="connsiteY67" fmla="*/ 4259973 h 4856353"/>
              <a:gd name="connsiteX68" fmla="*/ 5120269 w 5860123"/>
              <a:gd name="connsiteY68" fmla="*/ 4247590 h 4856353"/>
              <a:gd name="connsiteX69" fmla="*/ 5101219 w 5860123"/>
              <a:gd name="connsiteY69" fmla="*/ 4170437 h 4856353"/>
              <a:gd name="connsiteX70" fmla="*/ 5103124 w 5860123"/>
              <a:gd name="connsiteY70" fmla="*/ 4170437 h 4856353"/>
              <a:gd name="connsiteX71" fmla="*/ 5105029 w 5860123"/>
              <a:gd name="connsiteY71" fmla="*/ 4171390 h 4856353"/>
              <a:gd name="connsiteX72" fmla="*/ 5104076 w 5860123"/>
              <a:gd name="connsiteY72" fmla="*/ 4175200 h 4856353"/>
              <a:gd name="connsiteX73" fmla="*/ 5100266 w 5860123"/>
              <a:gd name="connsiteY73" fmla="*/ 4174247 h 4856353"/>
              <a:gd name="connsiteX74" fmla="*/ 5099314 w 5860123"/>
              <a:gd name="connsiteY74" fmla="*/ 4171390 h 4856353"/>
              <a:gd name="connsiteX75" fmla="*/ 5101219 w 5860123"/>
              <a:gd name="connsiteY75" fmla="*/ 4170437 h 4856353"/>
              <a:gd name="connsiteX76" fmla="*/ 4548768 w 5860123"/>
              <a:gd name="connsiteY76" fmla="*/ 4116145 h 4856353"/>
              <a:gd name="connsiteX77" fmla="*/ 4555436 w 5860123"/>
              <a:gd name="connsiteY77" fmla="*/ 4122812 h 4856353"/>
              <a:gd name="connsiteX78" fmla="*/ 4540196 w 5860123"/>
              <a:gd name="connsiteY78" fmla="*/ 4128528 h 4856353"/>
              <a:gd name="connsiteX79" fmla="*/ 4537338 w 5860123"/>
              <a:gd name="connsiteY79" fmla="*/ 4119955 h 4856353"/>
              <a:gd name="connsiteX80" fmla="*/ 4548768 w 5860123"/>
              <a:gd name="connsiteY80" fmla="*/ 4116145 h 4856353"/>
              <a:gd name="connsiteX81" fmla="*/ 4845949 w 5860123"/>
              <a:gd name="connsiteY81" fmla="*/ 4108525 h 4856353"/>
              <a:gd name="connsiteX82" fmla="*/ 4847854 w 5860123"/>
              <a:gd name="connsiteY82" fmla="*/ 4108525 h 4856353"/>
              <a:gd name="connsiteX83" fmla="*/ 4849759 w 5860123"/>
              <a:gd name="connsiteY83" fmla="*/ 4109478 h 4856353"/>
              <a:gd name="connsiteX84" fmla="*/ 4848806 w 5860123"/>
              <a:gd name="connsiteY84" fmla="*/ 4113288 h 4856353"/>
              <a:gd name="connsiteX85" fmla="*/ 4844996 w 5860123"/>
              <a:gd name="connsiteY85" fmla="*/ 4112335 h 4856353"/>
              <a:gd name="connsiteX86" fmla="*/ 4844044 w 5860123"/>
              <a:gd name="connsiteY86" fmla="*/ 4109478 h 4856353"/>
              <a:gd name="connsiteX87" fmla="*/ 4845949 w 5860123"/>
              <a:gd name="connsiteY87" fmla="*/ 4108525 h 4856353"/>
              <a:gd name="connsiteX88" fmla="*/ 4590679 w 5860123"/>
              <a:gd name="connsiteY88" fmla="*/ 4078403 h 4856353"/>
              <a:gd name="connsiteX89" fmla="*/ 4596394 w 5860123"/>
              <a:gd name="connsiteY89" fmla="*/ 4078998 h 4856353"/>
              <a:gd name="connsiteX90" fmla="*/ 4591631 w 5860123"/>
              <a:gd name="connsiteY90" fmla="*/ 4093285 h 4856353"/>
              <a:gd name="connsiteX91" fmla="*/ 4580201 w 5860123"/>
              <a:gd name="connsiteY91" fmla="*/ 4099953 h 4856353"/>
              <a:gd name="connsiteX92" fmla="*/ 4582106 w 5860123"/>
              <a:gd name="connsiteY92" fmla="*/ 4085665 h 4856353"/>
              <a:gd name="connsiteX93" fmla="*/ 4590679 w 5860123"/>
              <a:gd name="connsiteY93" fmla="*/ 4078403 h 4856353"/>
              <a:gd name="connsiteX94" fmla="*/ 4856188 w 5860123"/>
              <a:gd name="connsiteY94" fmla="*/ 4070902 h 4856353"/>
              <a:gd name="connsiteX95" fmla="*/ 4861188 w 5860123"/>
              <a:gd name="connsiteY95" fmla="*/ 4076140 h 4856353"/>
              <a:gd name="connsiteX96" fmla="*/ 4864046 w 5860123"/>
              <a:gd name="connsiteY96" fmla="*/ 4084713 h 4856353"/>
              <a:gd name="connsiteX97" fmla="*/ 4851663 w 5860123"/>
              <a:gd name="connsiteY97" fmla="*/ 4088523 h 4856353"/>
              <a:gd name="connsiteX98" fmla="*/ 4852616 w 5860123"/>
              <a:gd name="connsiteY98" fmla="*/ 4078045 h 4856353"/>
              <a:gd name="connsiteX99" fmla="*/ 4852616 w 5860123"/>
              <a:gd name="connsiteY99" fmla="*/ 4071378 h 4856353"/>
              <a:gd name="connsiteX100" fmla="*/ 4856188 w 5860123"/>
              <a:gd name="connsiteY100" fmla="*/ 4070902 h 4856353"/>
              <a:gd name="connsiteX101" fmla="*/ 4700216 w 5860123"/>
              <a:gd name="connsiteY101" fmla="*/ 3966603 h 4856353"/>
              <a:gd name="connsiteX102" fmla="*/ 4708789 w 5860123"/>
              <a:gd name="connsiteY102" fmla="*/ 3969460 h 4856353"/>
              <a:gd name="connsiteX103" fmla="*/ 4706883 w 5860123"/>
              <a:gd name="connsiteY103" fmla="*/ 3978985 h 4856353"/>
              <a:gd name="connsiteX104" fmla="*/ 4690691 w 5860123"/>
              <a:gd name="connsiteY104" fmla="*/ 3985653 h 4856353"/>
              <a:gd name="connsiteX105" fmla="*/ 4692596 w 5860123"/>
              <a:gd name="connsiteY105" fmla="*/ 3973270 h 4856353"/>
              <a:gd name="connsiteX106" fmla="*/ 4700216 w 5860123"/>
              <a:gd name="connsiteY106" fmla="*/ 3966603 h 4856353"/>
              <a:gd name="connsiteX107" fmla="*/ 5072525 w 5860123"/>
              <a:gd name="connsiteY107" fmla="*/ 3821704 h 4856353"/>
              <a:gd name="connsiteX108" fmla="*/ 5086931 w 5860123"/>
              <a:gd name="connsiteY108" fmla="*/ 3832300 h 4856353"/>
              <a:gd name="connsiteX109" fmla="*/ 5111696 w 5860123"/>
              <a:gd name="connsiteY109" fmla="*/ 3839920 h 4856353"/>
              <a:gd name="connsiteX110" fmla="*/ 5114553 w 5860123"/>
              <a:gd name="connsiteY110" fmla="*/ 3870400 h 4856353"/>
              <a:gd name="connsiteX111" fmla="*/ 5115506 w 5860123"/>
              <a:gd name="connsiteY111" fmla="*/ 3905643 h 4856353"/>
              <a:gd name="connsiteX112" fmla="*/ 5106933 w 5860123"/>
              <a:gd name="connsiteY112" fmla="*/ 3958983 h 4856353"/>
              <a:gd name="connsiteX113" fmla="*/ 5100266 w 5860123"/>
              <a:gd name="connsiteY113" fmla="*/ 3998987 h 4856353"/>
              <a:gd name="connsiteX114" fmla="*/ 5094551 w 5860123"/>
              <a:gd name="connsiteY114" fmla="*/ 4049470 h 4856353"/>
              <a:gd name="connsiteX115" fmla="*/ 5081216 w 5860123"/>
              <a:gd name="connsiteY115" fmla="*/ 4120908 h 4856353"/>
              <a:gd name="connsiteX116" fmla="*/ 5053594 w 5860123"/>
              <a:gd name="connsiteY116" fmla="*/ 4175200 h 4856353"/>
              <a:gd name="connsiteX117" fmla="*/ 5037401 w 5860123"/>
              <a:gd name="connsiteY117" fmla="*/ 4212348 h 4856353"/>
              <a:gd name="connsiteX118" fmla="*/ 5038353 w 5860123"/>
              <a:gd name="connsiteY118" fmla="*/ 4267593 h 4856353"/>
              <a:gd name="connsiteX119" fmla="*/ 5032638 w 5860123"/>
              <a:gd name="connsiteY119" fmla="*/ 4285690 h 4856353"/>
              <a:gd name="connsiteX120" fmla="*/ 5020256 w 5860123"/>
              <a:gd name="connsiteY120" fmla="*/ 4279023 h 4856353"/>
              <a:gd name="connsiteX121" fmla="*/ 5009778 w 5860123"/>
              <a:gd name="connsiteY121" fmla="*/ 4253305 h 4856353"/>
              <a:gd name="connsiteX122" fmla="*/ 4979298 w 5860123"/>
              <a:gd name="connsiteY122" fmla="*/ 4219968 h 4856353"/>
              <a:gd name="connsiteX123" fmla="*/ 4946913 w 5860123"/>
              <a:gd name="connsiteY123" fmla="*/ 4187583 h 4856353"/>
              <a:gd name="connsiteX124" fmla="*/ 4925958 w 5860123"/>
              <a:gd name="connsiteY124" fmla="*/ 4151388 h 4856353"/>
              <a:gd name="connsiteX125" fmla="*/ 4920244 w 5860123"/>
              <a:gd name="connsiteY125" fmla="*/ 4121860 h 4856353"/>
              <a:gd name="connsiteX126" fmla="*/ 4923101 w 5860123"/>
              <a:gd name="connsiteY126" fmla="*/ 4075187 h 4856353"/>
              <a:gd name="connsiteX127" fmla="*/ 4950723 w 5860123"/>
              <a:gd name="connsiteY127" fmla="*/ 3999940 h 4856353"/>
              <a:gd name="connsiteX128" fmla="*/ 4988823 w 5860123"/>
              <a:gd name="connsiteY128" fmla="*/ 3919930 h 4856353"/>
              <a:gd name="connsiteX129" fmla="*/ 5005016 w 5860123"/>
              <a:gd name="connsiteY129" fmla="*/ 3878020 h 4856353"/>
              <a:gd name="connsiteX130" fmla="*/ 5045021 w 5860123"/>
              <a:gd name="connsiteY130" fmla="*/ 3849445 h 4856353"/>
              <a:gd name="connsiteX131" fmla="*/ 5060261 w 5860123"/>
              <a:gd name="connsiteY131" fmla="*/ 3827537 h 4856353"/>
              <a:gd name="connsiteX132" fmla="*/ 5072525 w 5860123"/>
              <a:gd name="connsiteY132" fmla="*/ 3821704 h 4856353"/>
              <a:gd name="connsiteX133" fmla="*/ 4847853 w 5860123"/>
              <a:gd name="connsiteY133" fmla="*/ 3802773 h 4856353"/>
              <a:gd name="connsiteX134" fmla="*/ 4854521 w 5860123"/>
              <a:gd name="connsiteY134" fmla="*/ 3803725 h 4856353"/>
              <a:gd name="connsiteX135" fmla="*/ 4864999 w 5860123"/>
              <a:gd name="connsiteY135" fmla="*/ 3816108 h 4856353"/>
              <a:gd name="connsiteX136" fmla="*/ 4856426 w 5860123"/>
              <a:gd name="connsiteY136" fmla="*/ 3829443 h 4856353"/>
              <a:gd name="connsiteX137" fmla="*/ 4848806 w 5860123"/>
              <a:gd name="connsiteY137" fmla="*/ 3834205 h 4856353"/>
              <a:gd name="connsiteX138" fmla="*/ 4844996 w 5860123"/>
              <a:gd name="connsiteY138" fmla="*/ 3817061 h 4856353"/>
              <a:gd name="connsiteX139" fmla="*/ 4847853 w 5860123"/>
              <a:gd name="connsiteY139" fmla="*/ 3802773 h 4856353"/>
              <a:gd name="connsiteX140" fmla="*/ 5131698 w 5860123"/>
              <a:gd name="connsiteY140" fmla="*/ 3788485 h 4856353"/>
              <a:gd name="connsiteX141" fmla="*/ 5136461 w 5860123"/>
              <a:gd name="connsiteY141" fmla="*/ 3792295 h 4856353"/>
              <a:gd name="connsiteX142" fmla="*/ 5128841 w 5860123"/>
              <a:gd name="connsiteY142" fmla="*/ 3793248 h 4856353"/>
              <a:gd name="connsiteX143" fmla="*/ 5131698 w 5860123"/>
              <a:gd name="connsiteY143" fmla="*/ 3788485 h 4856353"/>
              <a:gd name="connsiteX144" fmla="*/ 5298386 w 5860123"/>
              <a:gd name="connsiteY144" fmla="*/ 3730383 h 4856353"/>
              <a:gd name="connsiteX145" fmla="*/ 5304101 w 5860123"/>
              <a:gd name="connsiteY145" fmla="*/ 3733240 h 4856353"/>
              <a:gd name="connsiteX146" fmla="*/ 5295529 w 5860123"/>
              <a:gd name="connsiteY146" fmla="*/ 3737050 h 4856353"/>
              <a:gd name="connsiteX147" fmla="*/ 5298386 w 5860123"/>
              <a:gd name="connsiteY147" fmla="*/ 3730383 h 4856353"/>
              <a:gd name="connsiteX148" fmla="*/ 5306006 w 5860123"/>
              <a:gd name="connsiteY148" fmla="*/ 3713237 h 4856353"/>
              <a:gd name="connsiteX149" fmla="*/ 5311721 w 5860123"/>
              <a:gd name="connsiteY149" fmla="*/ 3716095 h 4856353"/>
              <a:gd name="connsiteX150" fmla="*/ 5303148 w 5860123"/>
              <a:gd name="connsiteY150" fmla="*/ 3719905 h 4856353"/>
              <a:gd name="connsiteX151" fmla="*/ 5306006 w 5860123"/>
              <a:gd name="connsiteY151" fmla="*/ 3713237 h 4856353"/>
              <a:gd name="connsiteX152" fmla="*/ 5422211 w 5860123"/>
              <a:gd name="connsiteY152" fmla="*/ 3692283 h 4856353"/>
              <a:gd name="connsiteX153" fmla="*/ 5427926 w 5860123"/>
              <a:gd name="connsiteY153" fmla="*/ 3695140 h 4856353"/>
              <a:gd name="connsiteX154" fmla="*/ 5419354 w 5860123"/>
              <a:gd name="connsiteY154" fmla="*/ 3698950 h 4856353"/>
              <a:gd name="connsiteX155" fmla="*/ 5422211 w 5860123"/>
              <a:gd name="connsiteY155" fmla="*/ 3692283 h 4856353"/>
              <a:gd name="connsiteX156" fmla="*/ 5061214 w 5860123"/>
              <a:gd name="connsiteY156" fmla="*/ 3214127 h 4856353"/>
              <a:gd name="connsiteX157" fmla="*/ 5069786 w 5860123"/>
              <a:gd name="connsiteY157" fmla="*/ 3225557 h 4856353"/>
              <a:gd name="connsiteX158" fmla="*/ 5058356 w 5860123"/>
              <a:gd name="connsiteY158" fmla="*/ 3221747 h 4856353"/>
              <a:gd name="connsiteX159" fmla="*/ 5061214 w 5860123"/>
              <a:gd name="connsiteY159" fmla="*/ 3214127 h 4856353"/>
              <a:gd name="connsiteX160" fmla="*/ 5047878 w 5860123"/>
              <a:gd name="connsiteY160" fmla="*/ 3163646 h 4856353"/>
              <a:gd name="connsiteX161" fmla="*/ 5067881 w 5860123"/>
              <a:gd name="connsiteY161" fmla="*/ 3171265 h 4856353"/>
              <a:gd name="connsiteX162" fmla="*/ 5078358 w 5860123"/>
              <a:gd name="connsiteY162" fmla="*/ 3184600 h 4856353"/>
              <a:gd name="connsiteX163" fmla="*/ 5066928 w 5860123"/>
              <a:gd name="connsiteY163" fmla="*/ 3187458 h 4856353"/>
              <a:gd name="connsiteX164" fmla="*/ 5052640 w 5860123"/>
              <a:gd name="connsiteY164" fmla="*/ 3184600 h 4856353"/>
              <a:gd name="connsiteX165" fmla="*/ 5038353 w 5860123"/>
              <a:gd name="connsiteY165" fmla="*/ 3173171 h 4856353"/>
              <a:gd name="connsiteX166" fmla="*/ 5047878 w 5860123"/>
              <a:gd name="connsiteY166" fmla="*/ 3163646 h 4856353"/>
              <a:gd name="connsiteX167" fmla="*/ 5061214 w 5860123"/>
              <a:gd name="connsiteY167" fmla="*/ 3136975 h 4856353"/>
              <a:gd name="connsiteX168" fmla="*/ 5063119 w 5860123"/>
              <a:gd name="connsiteY168" fmla="*/ 3149358 h 4856353"/>
              <a:gd name="connsiteX169" fmla="*/ 5046926 w 5860123"/>
              <a:gd name="connsiteY169" fmla="*/ 3143643 h 4856353"/>
              <a:gd name="connsiteX170" fmla="*/ 5061214 w 5860123"/>
              <a:gd name="connsiteY170" fmla="*/ 3136975 h 4856353"/>
              <a:gd name="connsiteX171" fmla="*/ 4979298 w 5860123"/>
              <a:gd name="connsiteY171" fmla="*/ 2995052 h 4856353"/>
              <a:gd name="connsiteX172" fmla="*/ 4990728 w 5860123"/>
              <a:gd name="connsiteY172" fmla="*/ 2998862 h 4856353"/>
              <a:gd name="connsiteX173" fmla="*/ 4992634 w 5860123"/>
              <a:gd name="connsiteY173" fmla="*/ 3007435 h 4856353"/>
              <a:gd name="connsiteX174" fmla="*/ 4976441 w 5860123"/>
              <a:gd name="connsiteY174" fmla="*/ 2999815 h 4856353"/>
              <a:gd name="connsiteX175" fmla="*/ 4979298 w 5860123"/>
              <a:gd name="connsiteY175" fmla="*/ 2995052 h 4856353"/>
              <a:gd name="connsiteX176" fmla="*/ 4777368 w 5860123"/>
              <a:gd name="connsiteY176" fmla="*/ 2113038 h 4856353"/>
              <a:gd name="connsiteX177" fmla="*/ 4784036 w 5860123"/>
              <a:gd name="connsiteY177" fmla="*/ 2123515 h 4856353"/>
              <a:gd name="connsiteX178" fmla="*/ 4775463 w 5860123"/>
              <a:gd name="connsiteY178" fmla="*/ 2122563 h 4856353"/>
              <a:gd name="connsiteX179" fmla="*/ 4777368 w 5860123"/>
              <a:gd name="connsiteY179" fmla="*/ 2113038 h 4856353"/>
              <a:gd name="connsiteX180" fmla="*/ 4784036 w 5860123"/>
              <a:gd name="connsiteY180" fmla="*/ 2064460 h 4856353"/>
              <a:gd name="connsiteX181" fmla="*/ 4785941 w 5860123"/>
              <a:gd name="connsiteY181" fmla="*/ 2070175 h 4856353"/>
              <a:gd name="connsiteX182" fmla="*/ 4778321 w 5860123"/>
              <a:gd name="connsiteY182" fmla="*/ 2071127 h 4856353"/>
              <a:gd name="connsiteX183" fmla="*/ 4784036 w 5860123"/>
              <a:gd name="connsiteY183" fmla="*/ 2064460 h 4856353"/>
              <a:gd name="connsiteX184" fmla="*/ 4536386 w 5860123"/>
              <a:gd name="connsiteY184" fmla="*/ 1993975 h 4856353"/>
              <a:gd name="connsiteX185" fmla="*/ 4543053 w 5860123"/>
              <a:gd name="connsiteY185" fmla="*/ 2003500 h 4856353"/>
              <a:gd name="connsiteX186" fmla="*/ 4543053 w 5860123"/>
              <a:gd name="connsiteY186" fmla="*/ 2011120 h 4856353"/>
              <a:gd name="connsiteX187" fmla="*/ 4533528 w 5860123"/>
              <a:gd name="connsiteY187" fmla="*/ 2003500 h 4856353"/>
              <a:gd name="connsiteX188" fmla="*/ 4536386 w 5860123"/>
              <a:gd name="connsiteY188" fmla="*/ 1993975 h 4856353"/>
              <a:gd name="connsiteX189" fmla="*/ 4756533 w 5860123"/>
              <a:gd name="connsiteY189" fmla="*/ 276 h 4856353"/>
              <a:gd name="connsiteX190" fmla="*/ 4760224 w 5860123"/>
              <a:gd name="connsiteY190" fmla="*/ 2300 h 4856353"/>
              <a:gd name="connsiteX191" fmla="*/ 4764987 w 5860123"/>
              <a:gd name="connsiteY191" fmla="*/ 3252 h 4856353"/>
              <a:gd name="connsiteX192" fmla="*/ 4772606 w 5860123"/>
              <a:gd name="connsiteY192" fmla="*/ 2300 h 4856353"/>
              <a:gd name="connsiteX193" fmla="*/ 4784037 w 5860123"/>
              <a:gd name="connsiteY193" fmla="*/ 6110 h 4856353"/>
              <a:gd name="connsiteX194" fmla="*/ 4795466 w 5860123"/>
              <a:gd name="connsiteY194" fmla="*/ 11825 h 4856353"/>
              <a:gd name="connsiteX195" fmla="*/ 4816422 w 5860123"/>
              <a:gd name="connsiteY195" fmla="*/ 15635 h 4856353"/>
              <a:gd name="connsiteX196" fmla="*/ 4830709 w 5860123"/>
              <a:gd name="connsiteY196" fmla="*/ 25160 h 4856353"/>
              <a:gd name="connsiteX197" fmla="*/ 4848806 w 5860123"/>
              <a:gd name="connsiteY197" fmla="*/ 34685 h 4856353"/>
              <a:gd name="connsiteX198" fmla="*/ 4863094 w 5860123"/>
              <a:gd name="connsiteY198" fmla="*/ 37542 h 4856353"/>
              <a:gd name="connsiteX199" fmla="*/ 4878334 w 5860123"/>
              <a:gd name="connsiteY199" fmla="*/ 33732 h 4856353"/>
              <a:gd name="connsiteX200" fmla="*/ 4890716 w 5860123"/>
              <a:gd name="connsiteY200" fmla="*/ 27065 h 4856353"/>
              <a:gd name="connsiteX201" fmla="*/ 4908814 w 5860123"/>
              <a:gd name="connsiteY201" fmla="*/ 29922 h 4856353"/>
              <a:gd name="connsiteX202" fmla="*/ 4937389 w 5860123"/>
              <a:gd name="connsiteY202" fmla="*/ 40400 h 4856353"/>
              <a:gd name="connsiteX203" fmla="*/ 4945009 w 5860123"/>
              <a:gd name="connsiteY203" fmla="*/ 52782 h 4856353"/>
              <a:gd name="connsiteX204" fmla="*/ 4949772 w 5860123"/>
              <a:gd name="connsiteY204" fmla="*/ 55640 h 4856353"/>
              <a:gd name="connsiteX205" fmla="*/ 4964059 w 5860123"/>
              <a:gd name="connsiteY205" fmla="*/ 61355 h 4856353"/>
              <a:gd name="connsiteX206" fmla="*/ 4978347 w 5860123"/>
              <a:gd name="connsiteY206" fmla="*/ 67070 h 4856353"/>
              <a:gd name="connsiteX207" fmla="*/ 4983109 w 5860123"/>
              <a:gd name="connsiteY207" fmla="*/ 74690 h 4856353"/>
              <a:gd name="connsiteX208" fmla="*/ 4980252 w 5860123"/>
              <a:gd name="connsiteY208" fmla="*/ 80405 h 4856353"/>
              <a:gd name="connsiteX209" fmla="*/ 4974536 w 5860123"/>
              <a:gd name="connsiteY209" fmla="*/ 86121 h 4856353"/>
              <a:gd name="connsiteX210" fmla="*/ 4984061 w 5860123"/>
              <a:gd name="connsiteY210" fmla="*/ 91836 h 4856353"/>
              <a:gd name="connsiteX211" fmla="*/ 4992634 w 5860123"/>
              <a:gd name="connsiteY211" fmla="*/ 96598 h 4856353"/>
              <a:gd name="connsiteX212" fmla="*/ 5003111 w 5860123"/>
              <a:gd name="connsiteY212" fmla="*/ 107076 h 4856353"/>
              <a:gd name="connsiteX213" fmla="*/ 5009779 w 5860123"/>
              <a:gd name="connsiteY213" fmla="*/ 118506 h 4856353"/>
              <a:gd name="connsiteX214" fmla="*/ 5011684 w 5860123"/>
              <a:gd name="connsiteY214" fmla="*/ 123268 h 4856353"/>
              <a:gd name="connsiteX215" fmla="*/ 5012636 w 5860123"/>
              <a:gd name="connsiteY215" fmla="*/ 129936 h 4856353"/>
              <a:gd name="connsiteX216" fmla="*/ 5018352 w 5860123"/>
              <a:gd name="connsiteY216" fmla="*/ 139461 h 4856353"/>
              <a:gd name="connsiteX217" fmla="*/ 5030734 w 5860123"/>
              <a:gd name="connsiteY217" fmla="*/ 146128 h 4856353"/>
              <a:gd name="connsiteX218" fmla="*/ 5025972 w 5860123"/>
              <a:gd name="connsiteY218" fmla="*/ 157558 h 4856353"/>
              <a:gd name="connsiteX219" fmla="*/ 5034544 w 5860123"/>
              <a:gd name="connsiteY219" fmla="*/ 174703 h 4856353"/>
              <a:gd name="connsiteX220" fmla="*/ 5047879 w 5860123"/>
              <a:gd name="connsiteY220" fmla="*/ 190896 h 4856353"/>
              <a:gd name="connsiteX221" fmla="*/ 5056452 w 5860123"/>
              <a:gd name="connsiteY221" fmla="*/ 204231 h 4856353"/>
              <a:gd name="connsiteX222" fmla="*/ 5062166 w 5860123"/>
              <a:gd name="connsiteY222" fmla="*/ 211851 h 4856353"/>
              <a:gd name="connsiteX223" fmla="*/ 5068834 w 5860123"/>
              <a:gd name="connsiteY223" fmla="*/ 222328 h 4856353"/>
              <a:gd name="connsiteX224" fmla="*/ 5075502 w 5860123"/>
              <a:gd name="connsiteY224" fmla="*/ 229948 h 4856353"/>
              <a:gd name="connsiteX225" fmla="*/ 5075502 w 5860123"/>
              <a:gd name="connsiteY225" fmla="*/ 237568 h 4856353"/>
              <a:gd name="connsiteX226" fmla="*/ 5073597 w 5860123"/>
              <a:gd name="connsiteY226" fmla="*/ 249951 h 4856353"/>
              <a:gd name="connsiteX227" fmla="*/ 5080264 w 5860123"/>
              <a:gd name="connsiteY227" fmla="*/ 244236 h 4856353"/>
              <a:gd name="connsiteX228" fmla="*/ 5086932 w 5860123"/>
              <a:gd name="connsiteY228" fmla="*/ 242331 h 4856353"/>
              <a:gd name="connsiteX229" fmla="*/ 5085027 w 5860123"/>
              <a:gd name="connsiteY229" fmla="*/ 266143 h 4856353"/>
              <a:gd name="connsiteX230" fmla="*/ 5113602 w 5860123"/>
              <a:gd name="connsiteY230" fmla="*/ 294718 h 4856353"/>
              <a:gd name="connsiteX231" fmla="*/ 5127889 w 5860123"/>
              <a:gd name="connsiteY231" fmla="*/ 311863 h 4856353"/>
              <a:gd name="connsiteX232" fmla="*/ 5134557 w 5860123"/>
              <a:gd name="connsiteY232" fmla="*/ 323293 h 4856353"/>
              <a:gd name="connsiteX233" fmla="*/ 5136461 w 5860123"/>
              <a:gd name="connsiteY233" fmla="*/ 338533 h 4856353"/>
              <a:gd name="connsiteX234" fmla="*/ 5138366 w 5860123"/>
              <a:gd name="connsiteY234" fmla="*/ 350916 h 4856353"/>
              <a:gd name="connsiteX235" fmla="*/ 5144082 w 5860123"/>
              <a:gd name="connsiteY235" fmla="*/ 363298 h 4856353"/>
              <a:gd name="connsiteX236" fmla="*/ 5161227 w 5860123"/>
              <a:gd name="connsiteY236" fmla="*/ 374729 h 4856353"/>
              <a:gd name="connsiteX237" fmla="*/ 5164084 w 5860123"/>
              <a:gd name="connsiteY237" fmla="*/ 391873 h 4856353"/>
              <a:gd name="connsiteX238" fmla="*/ 5165036 w 5860123"/>
              <a:gd name="connsiteY238" fmla="*/ 409018 h 4856353"/>
              <a:gd name="connsiteX239" fmla="*/ 5166941 w 5860123"/>
              <a:gd name="connsiteY239" fmla="*/ 422354 h 4856353"/>
              <a:gd name="connsiteX240" fmla="*/ 5176466 w 5860123"/>
              <a:gd name="connsiteY240" fmla="*/ 433783 h 4856353"/>
              <a:gd name="connsiteX241" fmla="*/ 5183134 w 5860123"/>
              <a:gd name="connsiteY241" fmla="*/ 440451 h 4856353"/>
              <a:gd name="connsiteX242" fmla="*/ 5186944 w 5860123"/>
              <a:gd name="connsiteY242" fmla="*/ 447119 h 4856353"/>
              <a:gd name="connsiteX243" fmla="*/ 5194564 w 5860123"/>
              <a:gd name="connsiteY243" fmla="*/ 451882 h 4856353"/>
              <a:gd name="connsiteX244" fmla="*/ 5206947 w 5860123"/>
              <a:gd name="connsiteY244" fmla="*/ 452833 h 4856353"/>
              <a:gd name="connsiteX245" fmla="*/ 5215519 w 5860123"/>
              <a:gd name="connsiteY245" fmla="*/ 451882 h 4856353"/>
              <a:gd name="connsiteX246" fmla="*/ 5229807 w 5860123"/>
              <a:gd name="connsiteY246" fmla="*/ 454739 h 4856353"/>
              <a:gd name="connsiteX247" fmla="*/ 5241236 w 5860123"/>
              <a:gd name="connsiteY247" fmla="*/ 451882 h 4856353"/>
              <a:gd name="connsiteX248" fmla="*/ 5255524 w 5860123"/>
              <a:gd name="connsiteY248" fmla="*/ 443308 h 4856353"/>
              <a:gd name="connsiteX249" fmla="*/ 5275527 w 5860123"/>
              <a:gd name="connsiteY249" fmla="*/ 441404 h 4856353"/>
              <a:gd name="connsiteX250" fmla="*/ 5281241 w 5860123"/>
              <a:gd name="connsiteY250" fmla="*/ 449024 h 4856353"/>
              <a:gd name="connsiteX251" fmla="*/ 5292672 w 5860123"/>
              <a:gd name="connsiteY251" fmla="*/ 452833 h 4856353"/>
              <a:gd name="connsiteX252" fmla="*/ 5306959 w 5860123"/>
              <a:gd name="connsiteY252" fmla="*/ 459502 h 4856353"/>
              <a:gd name="connsiteX253" fmla="*/ 5324104 w 5860123"/>
              <a:gd name="connsiteY253" fmla="*/ 460453 h 4856353"/>
              <a:gd name="connsiteX254" fmla="*/ 5333629 w 5860123"/>
              <a:gd name="connsiteY254" fmla="*/ 459502 h 4856353"/>
              <a:gd name="connsiteX255" fmla="*/ 5341249 w 5860123"/>
              <a:gd name="connsiteY255" fmla="*/ 453786 h 4856353"/>
              <a:gd name="connsiteX256" fmla="*/ 5346964 w 5860123"/>
              <a:gd name="connsiteY256" fmla="*/ 448071 h 4856353"/>
              <a:gd name="connsiteX257" fmla="*/ 5355536 w 5860123"/>
              <a:gd name="connsiteY257" fmla="*/ 460453 h 4856353"/>
              <a:gd name="connsiteX258" fmla="*/ 5365061 w 5860123"/>
              <a:gd name="connsiteY258" fmla="*/ 467122 h 4856353"/>
              <a:gd name="connsiteX259" fmla="*/ 5372682 w 5860123"/>
              <a:gd name="connsiteY259" fmla="*/ 469027 h 4856353"/>
              <a:gd name="connsiteX260" fmla="*/ 5379349 w 5860123"/>
              <a:gd name="connsiteY260" fmla="*/ 474742 h 4856353"/>
              <a:gd name="connsiteX261" fmla="*/ 5396494 w 5860123"/>
              <a:gd name="connsiteY261" fmla="*/ 489982 h 4856353"/>
              <a:gd name="connsiteX262" fmla="*/ 5417449 w 5860123"/>
              <a:gd name="connsiteY262" fmla="*/ 504268 h 4856353"/>
              <a:gd name="connsiteX263" fmla="*/ 5424116 w 5860123"/>
              <a:gd name="connsiteY263" fmla="*/ 506173 h 4856353"/>
              <a:gd name="connsiteX264" fmla="*/ 5434594 w 5860123"/>
              <a:gd name="connsiteY264" fmla="*/ 505221 h 4856353"/>
              <a:gd name="connsiteX265" fmla="*/ 5447929 w 5860123"/>
              <a:gd name="connsiteY265" fmla="*/ 503316 h 4856353"/>
              <a:gd name="connsiteX266" fmla="*/ 5462216 w 5860123"/>
              <a:gd name="connsiteY266" fmla="*/ 499506 h 4856353"/>
              <a:gd name="connsiteX267" fmla="*/ 5465074 w 5860123"/>
              <a:gd name="connsiteY267" fmla="*/ 511888 h 4856353"/>
              <a:gd name="connsiteX268" fmla="*/ 5462216 w 5860123"/>
              <a:gd name="connsiteY268" fmla="*/ 524272 h 4856353"/>
              <a:gd name="connsiteX269" fmla="*/ 5462216 w 5860123"/>
              <a:gd name="connsiteY269" fmla="*/ 534748 h 4856353"/>
              <a:gd name="connsiteX270" fmla="*/ 5469836 w 5860123"/>
              <a:gd name="connsiteY270" fmla="*/ 544273 h 4856353"/>
              <a:gd name="connsiteX271" fmla="*/ 5478409 w 5860123"/>
              <a:gd name="connsiteY271" fmla="*/ 546178 h 4856353"/>
              <a:gd name="connsiteX272" fmla="*/ 5487934 w 5860123"/>
              <a:gd name="connsiteY272" fmla="*/ 550941 h 4856353"/>
              <a:gd name="connsiteX273" fmla="*/ 5488886 w 5860123"/>
              <a:gd name="connsiteY273" fmla="*/ 557609 h 4856353"/>
              <a:gd name="connsiteX274" fmla="*/ 5493649 w 5860123"/>
              <a:gd name="connsiteY274" fmla="*/ 569038 h 4856353"/>
              <a:gd name="connsiteX275" fmla="*/ 5489839 w 5860123"/>
              <a:gd name="connsiteY275" fmla="*/ 590946 h 4856353"/>
              <a:gd name="connsiteX276" fmla="*/ 5500316 w 5860123"/>
              <a:gd name="connsiteY276" fmla="*/ 611901 h 4856353"/>
              <a:gd name="connsiteX277" fmla="*/ 5519366 w 5860123"/>
              <a:gd name="connsiteY277" fmla="*/ 631903 h 4856353"/>
              <a:gd name="connsiteX278" fmla="*/ 5529844 w 5860123"/>
              <a:gd name="connsiteY278" fmla="*/ 645239 h 4856353"/>
              <a:gd name="connsiteX279" fmla="*/ 5546989 w 5860123"/>
              <a:gd name="connsiteY279" fmla="*/ 638571 h 4856353"/>
              <a:gd name="connsiteX280" fmla="*/ 5562229 w 5860123"/>
              <a:gd name="connsiteY280" fmla="*/ 632857 h 4856353"/>
              <a:gd name="connsiteX281" fmla="*/ 5578422 w 5860123"/>
              <a:gd name="connsiteY281" fmla="*/ 633808 h 4856353"/>
              <a:gd name="connsiteX282" fmla="*/ 5587947 w 5860123"/>
              <a:gd name="connsiteY282" fmla="*/ 632857 h 4856353"/>
              <a:gd name="connsiteX283" fmla="*/ 5604139 w 5860123"/>
              <a:gd name="connsiteY283" fmla="*/ 630951 h 4856353"/>
              <a:gd name="connsiteX284" fmla="*/ 5616522 w 5860123"/>
              <a:gd name="connsiteY284" fmla="*/ 627141 h 4856353"/>
              <a:gd name="connsiteX285" fmla="*/ 5625094 w 5860123"/>
              <a:gd name="connsiteY285" fmla="*/ 624283 h 4856353"/>
              <a:gd name="connsiteX286" fmla="*/ 5634619 w 5860123"/>
              <a:gd name="connsiteY286" fmla="*/ 621426 h 4856353"/>
              <a:gd name="connsiteX287" fmla="*/ 5642239 w 5860123"/>
              <a:gd name="connsiteY287" fmla="*/ 612854 h 4856353"/>
              <a:gd name="connsiteX288" fmla="*/ 5654622 w 5860123"/>
              <a:gd name="connsiteY288" fmla="*/ 613806 h 4856353"/>
              <a:gd name="connsiteX289" fmla="*/ 5667004 w 5860123"/>
              <a:gd name="connsiteY289" fmla="*/ 609043 h 4856353"/>
              <a:gd name="connsiteX290" fmla="*/ 5668909 w 5860123"/>
              <a:gd name="connsiteY290" fmla="*/ 597614 h 4856353"/>
              <a:gd name="connsiteX291" fmla="*/ 5667957 w 5860123"/>
              <a:gd name="connsiteY291" fmla="*/ 582374 h 4856353"/>
              <a:gd name="connsiteX292" fmla="*/ 5676529 w 5860123"/>
              <a:gd name="connsiteY292" fmla="*/ 579516 h 4856353"/>
              <a:gd name="connsiteX293" fmla="*/ 5682244 w 5860123"/>
              <a:gd name="connsiteY293" fmla="*/ 575707 h 4856353"/>
              <a:gd name="connsiteX294" fmla="*/ 5688911 w 5860123"/>
              <a:gd name="connsiteY294" fmla="*/ 567133 h 4856353"/>
              <a:gd name="connsiteX295" fmla="*/ 5695579 w 5860123"/>
              <a:gd name="connsiteY295" fmla="*/ 557609 h 4856353"/>
              <a:gd name="connsiteX296" fmla="*/ 5701294 w 5860123"/>
              <a:gd name="connsiteY296" fmla="*/ 551893 h 4856353"/>
              <a:gd name="connsiteX297" fmla="*/ 5707009 w 5860123"/>
              <a:gd name="connsiteY297" fmla="*/ 549036 h 4856353"/>
              <a:gd name="connsiteX298" fmla="*/ 5713677 w 5860123"/>
              <a:gd name="connsiteY298" fmla="*/ 545226 h 4856353"/>
              <a:gd name="connsiteX299" fmla="*/ 5721297 w 5860123"/>
              <a:gd name="connsiteY299" fmla="*/ 545226 h 4856353"/>
              <a:gd name="connsiteX300" fmla="*/ 5735584 w 5860123"/>
              <a:gd name="connsiteY300" fmla="*/ 541416 h 4856353"/>
              <a:gd name="connsiteX301" fmla="*/ 5748919 w 5860123"/>
              <a:gd name="connsiteY301" fmla="*/ 529034 h 4856353"/>
              <a:gd name="connsiteX302" fmla="*/ 5764159 w 5860123"/>
              <a:gd name="connsiteY302" fmla="*/ 513794 h 4856353"/>
              <a:gd name="connsiteX303" fmla="*/ 5771779 w 5860123"/>
              <a:gd name="connsiteY303" fmla="*/ 508078 h 4856353"/>
              <a:gd name="connsiteX304" fmla="*/ 5779399 w 5860123"/>
              <a:gd name="connsiteY304" fmla="*/ 501411 h 4856353"/>
              <a:gd name="connsiteX305" fmla="*/ 5795591 w 5860123"/>
              <a:gd name="connsiteY305" fmla="*/ 490933 h 4856353"/>
              <a:gd name="connsiteX306" fmla="*/ 5811784 w 5860123"/>
              <a:gd name="connsiteY306" fmla="*/ 483313 h 4856353"/>
              <a:gd name="connsiteX307" fmla="*/ 5829882 w 5860123"/>
              <a:gd name="connsiteY307" fmla="*/ 481409 h 4856353"/>
              <a:gd name="connsiteX308" fmla="*/ 5838454 w 5860123"/>
              <a:gd name="connsiteY308" fmla="*/ 481409 h 4856353"/>
              <a:gd name="connsiteX309" fmla="*/ 5848932 w 5860123"/>
              <a:gd name="connsiteY309" fmla="*/ 470931 h 4856353"/>
              <a:gd name="connsiteX310" fmla="*/ 5858457 w 5860123"/>
              <a:gd name="connsiteY310" fmla="*/ 468073 h 4856353"/>
              <a:gd name="connsiteX311" fmla="*/ 5857504 w 5860123"/>
              <a:gd name="connsiteY311" fmla="*/ 475693 h 4856353"/>
              <a:gd name="connsiteX312" fmla="*/ 5839407 w 5860123"/>
              <a:gd name="connsiteY312" fmla="*/ 490933 h 4856353"/>
              <a:gd name="connsiteX313" fmla="*/ 5833691 w 5860123"/>
              <a:gd name="connsiteY313" fmla="*/ 501411 h 4856353"/>
              <a:gd name="connsiteX314" fmla="*/ 5833691 w 5860123"/>
              <a:gd name="connsiteY314" fmla="*/ 518556 h 4856353"/>
              <a:gd name="connsiteX315" fmla="*/ 5829882 w 5860123"/>
              <a:gd name="connsiteY315" fmla="*/ 533796 h 4856353"/>
              <a:gd name="connsiteX316" fmla="*/ 5838454 w 5860123"/>
              <a:gd name="connsiteY316" fmla="*/ 544273 h 4856353"/>
              <a:gd name="connsiteX317" fmla="*/ 5845122 w 5860123"/>
              <a:gd name="connsiteY317" fmla="*/ 548083 h 4856353"/>
              <a:gd name="connsiteX318" fmla="*/ 5853694 w 5860123"/>
              <a:gd name="connsiteY318" fmla="*/ 557609 h 4856353"/>
              <a:gd name="connsiteX319" fmla="*/ 5858457 w 5860123"/>
              <a:gd name="connsiteY319" fmla="*/ 572849 h 4856353"/>
              <a:gd name="connsiteX320" fmla="*/ 5855599 w 5860123"/>
              <a:gd name="connsiteY320" fmla="*/ 587136 h 4856353"/>
              <a:gd name="connsiteX321" fmla="*/ 5841311 w 5860123"/>
              <a:gd name="connsiteY321" fmla="*/ 607138 h 4856353"/>
              <a:gd name="connsiteX322" fmla="*/ 5823214 w 5860123"/>
              <a:gd name="connsiteY322" fmla="*/ 622379 h 4856353"/>
              <a:gd name="connsiteX323" fmla="*/ 5824166 w 5860123"/>
              <a:gd name="connsiteY323" fmla="*/ 641428 h 4856353"/>
              <a:gd name="connsiteX324" fmla="*/ 5823214 w 5860123"/>
              <a:gd name="connsiteY324" fmla="*/ 663336 h 4856353"/>
              <a:gd name="connsiteX325" fmla="*/ 5822261 w 5860123"/>
              <a:gd name="connsiteY325" fmla="*/ 689053 h 4856353"/>
              <a:gd name="connsiteX326" fmla="*/ 5824166 w 5860123"/>
              <a:gd name="connsiteY326" fmla="*/ 715723 h 4856353"/>
              <a:gd name="connsiteX327" fmla="*/ 5824166 w 5860123"/>
              <a:gd name="connsiteY327" fmla="*/ 721438 h 4856353"/>
              <a:gd name="connsiteX328" fmla="*/ 5820357 w 5860123"/>
              <a:gd name="connsiteY328" fmla="*/ 730011 h 4856353"/>
              <a:gd name="connsiteX329" fmla="*/ 5817499 w 5860123"/>
              <a:gd name="connsiteY329" fmla="*/ 745251 h 4856353"/>
              <a:gd name="connsiteX330" fmla="*/ 5827024 w 5860123"/>
              <a:gd name="connsiteY330" fmla="*/ 763348 h 4856353"/>
              <a:gd name="connsiteX331" fmla="*/ 5822261 w 5860123"/>
              <a:gd name="connsiteY331" fmla="*/ 784303 h 4856353"/>
              <a:gd name="connsiteX332" fmla="*/ 5817499 w 5860123"/>
              <a:gd name="connsiteY332" fmla="*/ 800496 h 4856353"/>
              <a:gd name="connsiteX333" fmla="*/ 5820357 w 5860123"/>
              <a:gd name="connsiteY333" fmla="*/ 810973 h 4856353"/>
              <a:gd name="connsiteX334" fmla="*/ 5812736 w 5860123"/>
              <a:gd name="connsiteY334" fmla="*/ 828118 h 4856353"/>
              <a:gd name="connsiteX335" fmla="*/ 5804164 w 5860123"/>
              <a:gd name="connsiteY335" fmla="*/ 841453 h 4856353"/>
              <a:gd name="connsiteX336" fmla="*/ 5805116 w 5860123"/>
              <a:gd name="connsiteY336" fmla="*/ 849073 h 4856353"/>
              <a:gd name="connsiteX337" fmla="*/ 5805116 w 5860123"/>
              <a:gd name="connsiteY337" fmla="*/ 857646 h 4856353"/>
              <a:gd name="connsiteX338" fmla="*/ 5807974 w 5860123"/>
              <a:gd name="connsiteY338" fmla="*/ 866218 h 4856353"/>
              <a:gd name="connsiteX339" fmla="*/ 5793686 w 5860123"/>
              <a:gd name="connsiteY339" fmla="*/ 883363 h 4856353"/>
              <a:gd name="connsiteX340" fmla="*/ 5787972 w 5860123"/>
              <a:gd name="connsiteY340" fmla="*/ 898603 h 4856353"/>
              <a:gd name="connsiteX341" fmla="*/ 5786066 w 5860123"/>
              <a:gd name="connsiteY341" fmla="*/ 911938 h 4856353"/>
              <a:gd name="connsiteX342" fmla="*/ 5788924 w 5860123"/>
              <a:gd name="connsiteY342" fmla="*/ 927178 h 4856353"/>
              <a:gd name="connsiteX343" fmla="*/ 5795591 w 5860123"/>
              <a:gd name="connsiteY343" fmla="*/ 937656 h 4856353"/>
              <a:gd name="connsiteX344" fmla="*/ 5789877 w 5860123"/>
              <a:gd name="connsiteY344" fmla="*/ 951943 h 4856353"/>
              <a:gd name="connsiteX345" fmla="*/ 5771779 w 5860123"/>
              <a:gd name="connsiteY345" fmla="*/ 957658 h 4856353"/>
              <a:gd name="connsiteX346" fmla="*/ 5770827 w 5860123"/>
              <a:gd name="connsiteY346" fmla="*/ 957658 h 4856353"/>
              <a:gd name="connsiteX347" fmla="*/ 5735584 w 5860123"/>
              <a:gd name="connsiteY347" fmla="*/ 954801 h 4856353"/>
              <a:gd name="connsiteX348" fmla="*/ 5694627 w 5860123"/>
              <a:gd name="connsiteY348" fmla="*/ 951943 h 4856353"/>
              <a:gd name="connsiteX349" fmla="*/ 5679386 w 5860123"/>
              <a:gd name="connsiteY349" fmla="*/ 946228 h 4856353"/>
              <a:gd name="connsiteX350" fmla="*/ 5671766 w 5860123"/>
              <a:gd name="connsiteY350" fmla="*/ 940513 h 4856353"/>
              <a:gd name="connsiteX351" fmla="*/ 5667957 w 5860123"/>
              <a:gd name="connsiteY351" fmla="*/ 952896 h 4856353"/>
              <a:gd name="connsiteX352" fmla="*/ 5662241 w 5860123"/>
              <a:gd name="connsiteY352" fmla="*/ 960516 h 4856353"/>
              <a:gd name="connsiteX353" fmla="*/ 5656527 w 5860123"/>
              <a:gd name="connsiteY353" fmla="*/ 966231 h 4856353"/>
              <a:gd name="connsiteX354" fmla="*/ 5659384 w 5860123"/>
              <a:gd name="connsiteY354" fmla="*/ 970041 h 4856353"/>
              <a:gd name="connsiteX355" fmla="*/ 5656527 w 5860123"/>
              <a:gd name="connsiteY355" fmla="*/ 979566 h 4856353"/>
              <a:gd name="connsiteX356" fmla="*/ 5647954 w 5860123"/>
              <a:gd name="connsiteY356" fmla="*/ 990043 h 4856353"/>
              <a:gd name="connsiteX357" fmla="*/ 5646049 w 5860123"/>
              <a:gd name="connsiteY357" fmla="*/ 995758 h 4856353"/>
              <a:gd name="connsiteX358" fmla="*/ 5645097 w 5860123"/>
              <a:gd name="connsiteY358" fmla="*/ 1004331 h 4856353"/>
              <a:gd name="connsiteX359" fmla="*/ 5630809 w 5860123"/>
              <a:gd name="connsiteY359" fmla="*/ 1008141 h 4856353"/>
              <a:gd name="connsiteX360" fmla="*/ 5623189 w 5860123"/>
              <a:gd name="connsiteY360" fmla="*/ 1013856 h 4856353"/>
              <a:gd name="connsiteX361" fmla="*/ 5613664 w 5860123"/>
              <a:gd name="connsiteY361" fmla="*/ 1014808 h 4856353"/>
              <a:gd name="connsiteX362" fmla="*/ 5610807 w 5860123"/>
              <a:gd name="connsiteY362" fmla="*/ 1023381 h 4856353"/>
              <a:gd name="connsiteX363" fmla="*/ 5606044 w 5860123"/>
              <a:gd name="connsiteY363" fmla="*/ 1027191 h 4856353"/>
              <a:gd name="connsiteX364" fmla="*/ 5610807 w 5860123"/>
              <a:gd name="connsiteY364" fmla="*/ 1031953 h 4856353"/>
              <a:gd name="connsiteX365" fmla="*/ 5620332 w 5860123"/>
              <a:gd name="connsiteY365" fmla="*/ 1043383 h 4856353"/>
              <a:gd name="connsiteX366" fmla="*/ 5650811 w 5860123"/>
              <a:gd name="connsiteY366" fmla="*/ 1107201 h 4856353"/>
              <a:gd name="connsiteX367" fmla="*/ 5654622 w 5860123"/>
              <a:gd name="connsiteY367" fmla="*/ 1116726 h 4856353"/>
              <a:gd name="connsiteX368" fmla="*/ 5652716 w 5860123"/>
              <a:gd name="connsiteY368" fmla="*/ 1132915 h 4856353"/>
              <a:gd name="connsiteX369" fmla="*/ 5654622 w 5860123"/>
              <a:gd name="connsiteY369" fmla="*/ 1143393 h 4856353"/>
              <a:gd name="connsiteX370" fmla="*/ 5655574 w 5860123"/>
              <a:gd name="connsiteY370" fmla="*/ 1161490 h 4856353"/>
              <a:gd name="connsiteX371" fmla="*/ 5662241 w 5860123"/>
              <a:gd name="connsiteY371" fmla="*/ 1185303 h 4856353"/>
              <a:gd name="connsiteX372" fmla="*/ 5662241 w 5860123"/>
              <a:gd name="connsiteY372" fmla="*/ 1189113 h 4856353"/>
              <a:gd name="connsiteX373" fmla="*/ 5666052 w 5860123"/>
              <a:gd name="connsiteY373" fmla="*/ 1196733 h 4856353"/>
              <a:gd name="connsiteX374" fmla="*/ 5668909 w 5860123"/>
              <a:gd name="connsiteY374" fmla="*/ 1197685 h 4856353"/>
              <a:gd name="connsiteX375" fmla="*/ 5669861 w 5860123"/>
              <a:gd name="connsiteY375" fmla="*/ 1200543 h 4856353"/>
              <a:gd name="connsiteX376" fmla="*/ 5675577 w 5860123"/>
              <a:gd name="connsiteY376" fmla="*/ 1213878 h 4856353"/>
              <a:gd name="connsiteX377" fmla="*/ 5675577 w 5860123"/>
              <a:gd name="connsiteY377" fmla="*/ 1222450 h 4856353"/>
              <a:gd name="connsiteX378" fmla="*/ 5672719 w 5860123"/>
              <a:gd name="connsiteY378" fmla="*/ 1231975 h 4856353"/>
              <a:gd name="connsiteX379" fmla="*/ 5672719 w 5860123"/>
              <a:gd name="connsiteY379" fmla="*/ 1239595 h 4856353"/>
              <a:gd name="connsiteX380" fmla="*/ 5670814 w 5860123"/>
              <a:gd name="connsiteY380" fmla="*/ 1255788 h 4856353"/>
              <a:gd name="connsiteX381" fmla="*/ 5667957 w 5860123"/>
              <a:gd name="connsiteY381" fmla="*/ 1266265 h 4856353"/>
              <a:gd name="connsiteX382" fmla="*/ 5668909 w 5860123"/>
              <a:gd name="connsiteY382" fmla="*/ 1277695 h 4856353"/>
              <a:gd name="connsiteX383" fmla="*/ 5663194 w 5860123"/>
              <a:gd name="connsiteY383" fmla="*/ 1279600 h 4856353"/>
              <a:gd name="connsiteX384" fmla="*/ 5663194 w 5860123"/>
              <a:gd name="connsiteY384" fmla="*/ 1286268 h 4856353"/>
              <a:gd name="connsiteX385" fmla="*/ 5656527 w 5860123"/>
              <a:gd name="connsiteY385" fmla="*/ 1289125 h 4856353"/>
              <a:gd name="connsiteX386" fmla="*/ 5650811 w 5860123"/>
              <a:gd name="connsiteY386" fmla="*/ 1289125 h 4856353"/>
              <a:gd name="connsiteX387" fmla="*/ 5644144 w 5860123"/>
              <a:gd name="connsiteY387" fmla="*/ 1291030 h 4856353"/>
              <a:gd name="connsiteX388" fmla="*/ 5639382 w 5860123"/>
              <a:gd name="connsiteY388" fmla="*/ 1296745 h 4856353"/>
              <a:gd name="connsiteX389" fmla="*/ 5626999 w 5860123"/>
              <a:gd name="connsiteY389" fmla="*/ 1300555 h 4856353"/>
              <a:gd name="connsiteX390" fmla="*/ 5619379 w 5860123"/>
              <a:gd name="connsiteY390" fmla="*/ 1309128 h 4856353"/>
              <a:gd name="connsiteX391" fmla="*/ 5613664 w 5860123"/>
              <a:gd name="connsiteY391" fmla="*/ 1314843 h 4856353"/>
              <a:gd name="connsiteX392" fmla="*/ 5614616 w 5860123"/>
              <a:gd name="connsiteY392" fmla="*/ 1320558 h 4856353"/>
              <a:gd name="connsiteX393" fmla="*/ 5624141 w 5860123"/>
              <a:gd name="connsiteY393" fmla="*/ 1317700 h 4856353"/>
              <a:gd name="connsiteX394" fmla="*/ 5631761 w 5860123"/>
              <a:gd name="connsiteY394" fmla="*/ 1322463 h 4856353"/>
              <a:gd name="connsiteX395" fmla="*/ 5636524 w 5860123"/>
              <a:gd name="connsiteY395" fmla="*/ 1337703 h 4856353"/>
              <a:gd name="connsiteX396" fmla="*/ 5639382 w 5860123"/>
              <a:gd name="connsiteY396" fmla="*/ 1346275 h 4856353"/>
              <a:gd name="connsiteX397" fmla="*/ 5641286 w 5860123"/>
              <a:gd name="connsiteY397" fmla="*/ 1351038 h 4856353"/>
              <a:gd name="connsiteX398" fmla="*/ 5635572 w 5860123"/>
              <a:gd name="connsiteY398" fmla="*/ 1354848 h 4856353"/>
              <a:gd name="connsiteX399" fmla="*/ 5626999 w 5860123"/>
              <a:gd name="connsiteY399" fmla="*/ 1342465 h 4856353"/>
              <a:gd name="connsiteX400" fmla="*/ 5621284 w 5860123"/>
              <a:gd name="connsiteY400" fmla="*/ 1339608 h 4856353"/>
              <a:gd name="connsiteX401" fmla="*/ 5619379 w 5860123"/>
              <a:gd name="connsiteY401" fmla="*/ 1344370 h 4856353"/>
              <a:gd name="connsiteX402" fmla="*/ 5614616 w 5860123"/>
              <a:gd name="connsiteY402" fmla="*/ 1340560 h 4856353"/>
              <a:gd name="connsiteX403" fmla="*/ 5610807 w 5860123"/>
              <a:gd name="connsiteY403" fmla="*/ 1338655 h 4856353"/>
              <a:gd name="connsiteX404" fmla="*/ 5602234 w 5860123"/>
              <a:gd name="connsiteY404" fmla="*/ 1328178 h 4856353"/>
              <a:gd name="connsiteX405" fmla="*/ 5595566 w 5860123"/>
              <a:gd name="connsiteY405" fmla="*/ 1313890 h 4856353"/>
              <a:gd name="connsiteX406" fmla="*/ 5592709 w 5860123"/>
              <a:gd name="connsiteY406" fmla="*/ 1301508 h 4856353"/>
              <a:gd name="connsiteX407" fmla="*/ 5578422 w 5860123"/>
              <a:gd name="connsiteY407" fmla="*/ 1298650 h 4856353"/>
              <a:gd name="connsiteX408" fmla="*/ 5573659 w 5860123"/>
              <a:gd name="connsiteY408" fmla="*/ 1293888 h 4856353"/>
              <a:gd name="connsiteX409" fmla="*/ 5566991 w 5860123"/>
              <a:gd name="connsiteY409" fmla="*/ 1291983 h 4856353"/>
              <a:gd name="connsiteX410" fmla="*/ 5562229 w 5860123"/>
              <a:gd name="connsiteY410" fmla="*/ 1291030 h 4856353"/>
              <a:gd name="connsiteX411" fmla="*/ 5558419 w 5860123"/>
              <a:gd name="connsiteY411" fmla="*/ 1291983 h 4856353"/>
              <a:gd name="connsiteX412" fmla="*/ 5556514 w 5860123"/>
              <a:gd name="connsiteY412" fmla="*/ 1299603 h 4856353"/>
              <a:gd name="connsiteX413" fmla="*/ 5554609 w 5860123"/>
              <a:gd name="connsiteY413" fmla="*/ 1307223 h 4856353"/>
              <a:gd name="connsiteX414" fmla="*/ 5554609 w 5860123"/>
              <a:gd name="connsiteY414" fmla="*/ 1316748 h 4856353"/>
              <a:gd name="connsiteX415" fmla="*/ 5556514 w 5860123"/>
              <a:gd name="connsiteY415" fmla="*/ 1331988 h 4856353"/>
              <a:gd name="connsiteX416" fmla="*/ 5556514 w 5860123"/>
              <a:gd name="connsiteY416" fmla="*/ 1347228 h 4856353"/>
              <a:gd name="connsiteX417" fmla="*/ 5558419 w 5860123"/>
              <a:gd name="connsiteY417" fmla="*/ 1363420 h 4856353"/>
              <a:gd name="connsiteX418" fmla="*/ 5552704 w 5860123"/>
              <a:gd name="connsiteY418" fmla="*/ 1373898 h 4856353"/>
              <a:gd name="connsiteX419" fmla="*/ 5546036 w 5860123"/>
              <a:gd name="connsiteY419" fmla="*/ 1378660 h 4856353"/>
              <a:gd name="connsiteX420" fmla="*/ 5543179 w 5860123"/>
              <a:gd name="connsiteY420" fmla="*/ 1386280 h 4856353"/>
              <a:gd name="connsiteX421" fmla="*/ 5531749 w 5860123"/>
              <a:gd name="connsiteY421" fmla="*/ 1380565 h 4856353"/>
              <a:gd name="connsiteX422" fmla="*/ 5520319 w 5860123"/>
              <a:gd name="connsiteY422" fmla="*/ 1382470 h 4856353"/>
              <a:gd name="connsiteX423" fmla="*/ 5516509 w 5860123"/>
              <a:gd name="connsiteY423" fmla="*/ 1389138 h 4856353"/>
              <a:gd name="connsiteX424" fmla="*/ 5512699 w 5860123"/>
              <a:gd name="connsiteY424" fmla="*/ 1405330 h 4856353"/>
              <a:gd name="connsiteX425" fmla="*/ 5506032 w 5860123"/>
              <a:gd name="connsiteY425" fmla="*/ 1423428 h 4856353"/>
              <a:gd name="connsiteX426" fmla="*/ 5499364 w 5860123"/>
              <a:gd name="connsiteY426" fmla="*/ 1432000 h 4856353"/>
              <a:gd name="connsiteX427" fmla="*/ 5499364 w 5860123"/>
              <a:gd name="connsiteY427" fmla="*/ 1442478 h 4856353"/>
              <a:gd name="connsiteX428" fmla="*/ 5473647 w 5860123"/>
              <a:gd name="connsiteY428" fmla="*/ 1446288 h 4856353"/>
              <a:gd name="connsiteX429" fmla="*/ 5456502 w 5860123"/>
              <a:gd name="connsiteY429" fmla="*/ 1452955 h 4856353"/>
              <a:gd name="connsiteX430" fmla="*/ 5440309 w 5860123"/>
              <a:gd name="connsiteY430" fmla="*/ 1459623 h 4856353"/>
              <a:gd name="connsiteX431" fmla="*/ 5418402 w 5860123"/>
              <a:gd name="connsiteY431" fmla="*/ 1460575 h 4856353"/>
              <a:gd name="connsiteX432" fmla="*/ 5409829 w 5860123"/>
              <a:gd name="connsiteY432" fmla="*/ 1462480 h 4856353"/>
              <a:gd name="connsiteX433" fmla="*/ 5412686 w 5860123"/>
              <a:gd name="connsiteY433" fmla="*/ 1469148 h 4856353"/>
              <a:gd name="connsiteX434" fmla="*/ 5416497 w 5860123"/>
              <a:gd name="connsiteY434" fmla="*/ 1473910 h 4856353"/>
              <a:gd name="connsiteX435" fmla="*/ 5419354 w 5860123"/>
              <a:gd name="connsiteY435" fmla="*/ 1490103 h 4856353"/>
              <a:gd name="connsiteX436" fmla="*/ 5423164 w 5860123"/>
              <a:gd name="connsiteY436" fmla="*/ 1496770 h 4856353"/>
              <a:gd name="connsiteX437" fmla="*/ 5428879 w 5860123"/>
              <a:gd name="connsiteY437" fmla="*/ 1502485 h 4856353"/>
              <a:gd name="connsiteX438" fmla="*/ 5440309 w 5860123"/>
              <a:gd name="connsiteY438" fmla="*/ 1508200 h 4856353"/>
              <a:gd name="connsiteX439" fmla="*/ 5445072 w 5860123"/>
              <a:gd name="connsiteY439" fmla="*/ 1516773 h 4856353"/>
              <a:gd name="connsiteX440" fmla="*/ 5444119 w 5860123"/>
              <a:gd name="connsiteY440" fmla="*/ 1526298 h 4856353"/>
              <a:gd name="connsiteX441" fmla="*/ 5441261 w 5860123"/>
              <a:gd name="connsiteY441" fmla="*/ 1534870 h 4856353"/>
              <a:gd name="connsiteX442" fmla="*/ 5440309 w 5860123"/>
              <a:gd name="connsiteY442" fmla="*/ 1541538 h 4856353"/>
              <a:gd name="connsiteX443" fmla="*/ 5436499 w 5860123"/>
              <a:gd name="connsiteY443" fmla="*/ 1546300 h 4856353"/>
              <a:gd name="connsiteX444" fmla="*/ 5424116 w 5860123"/>
              <a:gd name="connsiteY444" fmla="*/ 1545348 h 4856353"/>
              <a:gd name="connsiteX445" fmla="*/ 5410782 w 5860123"/>
              <a:gd name="connsiteY445" fmla="*/ 1544395 h 4856353"/>
              <a:gd name="connsiteX446" fmla="*/ 5400304 w 5860123"/>
              <a:gd name="connsiteY446" fmla="*/ 1550110 h 4856353"/>
              <a:gd name="connsiteX447" fmla="*/ 5387922 w 5860123"/>
              <a:gd name="connsiteY447" fmla="*/ 1552015 h 4856353"/>
              <a:gd name="connsiteX448" fmla="*/ 5375539 w 5860123"/>
              <a:gd name="connsiteY448" fmla="*/ 1550110 h 4856353"/>
              <a:gd name="connsiteX449" fmla="*/ 5368872 w 5860123"/>
              <a:gd name="connsiteY449" fmla="*/ 1546300 h 4856353"/>
              <a:gd name="connsiteX450" fmla="*/ 5358394 w 5860123"/>
              <a:gd name="connsiteY450" fmla="*/ 1550110 h 4856353"/>
              <a:gd name="connsiteX451" fmla="*/ 5345059 w 5860123"/>
              <a:gd name="connsiteY451" fmla="*/ 1547253 h 4856353"/>
              <a:gd name="connsiteX452" fmla="*/ 5336486 w 5860123"/>
              <a:gd name="connsiteY452" fmla="*/ 1543443 h 4856353"/>
              <a:gd name="connsiteX453" fmla="*/ 5333629 w 5860123"/>
              <a:gd name="connsiteY453" fmla="*/ 1537728 h 4856353"/>
              <a:gd name="connsiteX454" fmla="*/ 5333629 w 5860123"/>
              <a:gd name="connsiteY454" fmla="*/ 1532965 h 4856353"/>
              <a:gd name="connsiteX455" fmla="*/ 5328866 w 5860123"/>
              <a:gd name="connsiteY455" fmla="*/ 1531060 h 4856353"/>
              <a:gd name="connsiteX456" fmla="*/ 5320294 w 5860123"/>
              <a:gd name="connsiteY456" fmla="*/ 1521535 h 4856353"/>
              <a:gd name="connsiteX457" fmla="*/ 5315532 w 5860123"/>
              <a:gd name="connsiteY457" fmla="*/ 1516773 h 4856353"/>
              <a:gd name="connsiteX458" fmla="*/ 5302197 w 5860123"/>
              <a:gd name="connsiteY458" fmla="*/ 1515820 h 4856353"/>
              <a:gd name="connsiteX459" fmla="*/ 5295529 w 5860123"/>
              <a:gd name="connsiteY459" fmla="*/ 1524393 h 4856353"/>
              <a:gd name="connsiteX460" fmla="*/ 5286957 w 5860123"/>
              <a:gd name="connsiteY460" fmla="*/ 1527250 h 4856353"/>
              <a:gd name="connsiteX461" fmla="*/ 5281241 w 5860123"/>
              <a:gd name="connsiteY461" fmla="*/ 1532013 h 4856353"/>
              <a:gd name="connsiteX462" fmla="*/ 5277432 w 5860123"/>
              <a:gd name="connsiteY462" fmla="*/ 1544395 h 4856353"/>
              <a:gd name="connsiteX463" fmla="*/ 5276479 w 5860123"/>
              <a:gd name="connsiteY463" fmla="*/ 1553920 h 4856353"/>
              <a:gd name="connsiteX464" fmla="*/ 5274574 w 5860123"/>
              <a:gd name="connsiteY464" fmla="*/ 1563445 h 4856353"/>
              <a:gd name="connsiteX465" fmla="*/ 5273622 w 5860123"/>
              <a:gd name="connsiteY465" fmla="*/ 1567255 h 4856353"/>
              <a:gd name="connsiteX466" fmla="*/ 5276479 w 5860123"/>
              <a:gd name="connsiteY466" fmla="*/ 1572018 h 4856353"/>
              <a:gd name="connsiteX467" fmla="*/ 5272669 w 5860123"/>
              <a:gd name="connsiteY467" fmla="*/ 1577733 h 4856353"/>
              <a:gd name="connsiteX468" fmla="*/ 5264097 w 5860123"/>
              <a:gd name="connsiteY468" fmla="*/ 1582495 h 4856353"/>
              <a:gd name="connsiteX469" fmla="*/ 5255524 w 5860123"/>
              <a:gd name="connsiteY469" fmla="*/ 1606308 h 4856353"/>
              <a:gd name="connsiteX470" fmla="*/ 5244094 w 5860123"/>
              <a:gd name="connsiteY470" fmla="*/ 1621548 h 4856353"/>
              <a:gd name="connsiteX471" fmla="*/ 5241236 w 5860123"/>
              <a:gd name="connsiteY471" fmla="*/ 1631073 h 4856353"/>
              <a:gd name="connsiteX472" fmla="*/ 5238379 w 5860123"/>
              <a:gd name="connsiteY472" fmla="*/ 1640598 h 4856353"/>
              <a:gd name="connsiteX473" fmla="*/ 5229807 w 5860123"/>
              <a:gd name="connsiteY473" fmla="*/ 1647265 h 4856353"/>
              <a:gd name="connsiteX474" fmla="*/ 5219329 w 5860123"/>
              <a:gd name="connsiteY474" fmla="*/ 1650123 h 4856353"/>
              <a:gd name="connsiteX475" fmla="*/ 5208852 w 5860123"/>
              <a:gd name="connsiteY475" fmla="*/ 1654885 h 4856353"/>
              <a:gd name="connsiteX476" fmla="*/ 5204089 w 5860123"/>
              <a:gd name="connsiteY476" fmla="*/ 1666315 h 4856353"/>
              <a:gd name="connsiteX477" fmla="*/ 5195516 w 5860123"/>
              <a:gd name="connsiteY477" fmla="*/ 1672030 h 4856353"/>
              <a:gd name="connsiteX478" fmla="*/ 5187897 w 5860123"/>
              <a:gd name="connsiteY478" fmla="*/ 1681555 h 4856353"/>
              <a:gd name="connsiteX479" fmla="*/ 5175514 w 5860123"/>
              <a:gd name="connsiteY479" fmla="*/ 1691080 h 4856353"/>
              <a:gd name="connsiteX480" fmla="*/ 5161227 w 5860123"/>
              <a:gd name="connsiteY480" fmla="*/ 1698700 h 4856353"/>
              <a:gd name="connsiteX481" fmla="*/ 5149797 w 5860123"/>
              <a:gd name="connsiteY481" fmla="*/ 1705368 h 4856353"/>
              <a:gd name="connsiteX482" fmla="*/ 5145034 w 5860123"/>
              <a:gd name="connsiteY482" fmla="*/ 1713940 h 4856353"/>
              <a:gd name="connsiteX483" fmla="*/ 5139319 w 5860123"/>
              <a:gd name="connsiteY483" fmla="*/ 1720608 h 4856353"/>
              <a:gd name="connsiteX484" fmla="*/ 5127889 w 5860123"/>
              <a:gd name="connsiteY484" fmla="*/ 1727275 h 4856353"/>
              <a:gd name="connsiteX485" fmla="*/ 5119316 w 5860123"/>
              <a:gd name="connsiteY485" fmla="*/ 1736800 h 4856353"/>
              <a:gd name="connsiteX486" fmla="*/ 5113602 w 5860123"/>
              <a:gd name="connsiteY486" fmla="*/ 1749183 h 4856353"/>
              <a:gd name="connsiteX487" fmla="*/ 5098361 w 5860123"/>
              <a:gd name="connsiteY487" fmla="*/ 1766328 h 4856353"/>
              <a:gd name="connsiteX488" fmla="*/ 5087884 w 5860123"/>
              <a:gd name="connsiteY488" fmla="*/ 1778710 h 4856353"/>
              <a:gd name="connsiteX489" fmla="*/ 5074549 w 5860123"/>
              <a:gd name="connsiteY489" fmla="*/ 1804428 h 4856353"/>
              <a:gd name="connsiteX490" fmla="*/ 5038354 w 5860123"/>
              <a:gd name="connsiteY490" fmla="*/ 1821573 h 4856353"/>
              <a:gd name="connsiteX491" fmla="*/ 4985966 w 5860123"/>
              <a:gd name="connsiteY491" fmla="*/ 1838718 h 4856353"/>
              <a:gd name="connsiteX492" fmla="*/ 4936436 w 5860123"/>
              <a:gd name="connsiteY492" fmla="*/ 1873960 h 4856353"/>
              <a:gd name="connsiteX493" fmla="*/ 4904052 w 5860123"/>
              <a:gd name="connsiteY493" fmla="*/ 1898725 h 4856353"/>
              <a:gd name="connsiteX494" fmla="*/ 4873572 w 5860123"/>
              <a:gd name="connsiteY494" fmla="*/ 1944445 h 4856353"/>
              <a:gd name="connsiteX495" fmla="*/ 4847854 w 5860123"/>
              <a:gd name="connsiteY495" fmla="*/ 1964448 h 4856353"/>
              <a:gd name="connsiteX496" fmla="*/ 4826899 w 5860123"/>
              <a:gd name="connsiteY496" fmla="*/ 1974925 h 4856353"/>
              <a:gd name="connsiteX497" fmla="*/ 4814516 w 5860123"/>
              <a:gd name="connsiteY497" fmla="*/ 1992070 h 4856353"/>
              <a:gd name="connsiteX498" fmla="*/ 4788799 w 5860123"/>
              <a:gd name="connsiteY498" fmla="*/ 2003500 h 4856353"/>
              <a:gd name="connsiteX499" fmla="*/ 4779274 w 5860123"/>
              <a:gd name="connsiteY499" fmla="*/ 1992070 h 4856353"/>
              <a:gd name="connsiteX500" fmla="*/ 4802134 w 5860123"/>
              <a:gd name="connsiteY500" fmla="*/ 1972068 h 4856353"/>
              <a:gd name="connsiteX501" fmla="*/ 4826899 w 5860123"/>
              <a:gd name="connsiteY501" fmla="*/ 1950160 h 4856353"/>
              <a:gd name="connsiteX502" fmla="*/ 4831662 w 5860123"/>
              <a:gd name="connsiteY502" fmla="*/ 1918728 h 4856353"/>
              <a:gd name="connsiteX503" fmla="*/ 4802134 w 5860123"/>
              <a:gd name="connsiteY503" fmla="*/ 1917775 h 4856353"/>
              <a:gd name="connsiteX504" fmla="*/ 4783084 w 5860123"/>
              <a:gd name="connsiteY504" fmla="*/ 1897773 h 4856353"/>
              <a:gd name="connsiteX505" fmla="*/ 4798324 w 5860123"/>
              <a:gd name="connsiteY505" fmla="*/ 1882533 h 4856353"/>
              <a:gd name="connsiteX506" fmla="*/ 4802134 w 5860123"/>
              <a:gd name="connsiteY506" fmla="*/ 1860625 h 4856353"/>
              <a:gd name="connsiteX507" fmla="*/ 4817374 w 5860123"/>
              <a:gd name="connsiteY507" fmla="*/ 1842528 h 4856353"/>
              <a:gd name="connsiteX508" fmla="*/ 4838329 w 5860123"/>
              <a:gd name="connsiteY508" fmla="*/ 1822525 h 4856353"/>
              <a:gd name="connsiteX509" fmla="*/ 4866904 w 5860123"/>
              <a:gd name="connsiteY509" fmla="*/ 1764423 h 4856353"/>
              <a:gd name="connsiteX510" fmla="*/ 4846902 w 5860123"/>
              <a:gd name="connsiteY510" fmla="*/ 1728228 h 4856353"/>
              <a:gd name="connsiteX511" fmla="*/ 4832614 w 5860123"/>
              <a:gd name="connsiteY511" fmla="*/ 1705368 h 4856353"/>
              <a:gd name="connsiteX512" fmla="*/ 4817374 w 5860123"/>
              <a:gd name="connsiteY512" fmla="*/ 1686318 h 4856353"/>
              <a:gd name="connsiteX513" fmla="*/ 4806897 w 5860123"/>
              <a:gd name="connsiteY513" fmla="*/ 1702510 h 4856353"/>
              <a:gd name="connsiteX514" fmla="*/ 4770702 w 5860123"/>
              <a:gd name="connsiteY514" fmla="*/ 1708225 h 4856353"/>
              <a:gd name="connsiteX515" fmla="*/ 4726887 w 5860123"/>
              <a:gd name="connsiteY515" fmla="*/ 1737753 h 4856353"/>
              <a:gd name="connsiteX516" fmla="*/ 4713552 w 5860123"/>
              <a:gd name="connsiteY516" fmla="*/ 1765375 h 4856353"/>
              <a:gd name="connsiteX517" fmla="*/ 4695454 w 5860123"/>
              <a:gd name="connsiteY517" fmla="*/ 1797760 h 4856353"/>
              <a:gd name="connsiteX518" fmla="*/ 4666879 w 5860123"/>
              <a:gd name="connsiteY518" fmla="*/ 1827288 h 4856353"/>
              <a:gd name="connsiteX519" fmla="*/ 4611634 w 5860123"/>
              <a:gd name="connsiteY519" fmla="*/ 1864435 h 4856353"/>
              <a:gd name="connsiteX520" fmla="*/ 4581154 w 5860123"/>
              <a:gd name="connsiteY520" fmla="*/ 1921585 h 4856353"/>
              <a:gd name="connsiteX521" fmla="*/ 4566866 w 5860123"/>
              <a:gd name="connsiteY521" fmla="*/ 1962543 h 4856353"/>
              <a:gd name="connsiteX522" fmla="*/ 4531624 w 5860123"/>
              <a:gd name="connsiteY522" fmla="*/ 1976830 h 4856353"/>
              <a:gd name="connsiteX523" fmla="*/ 4503049 w 5860123"/>
              <a:gd name="connsiteY523" fmla="*/ 1987308 h 4856353"/>
              <a:gd name="connsiteX524" fmla="*/ 4476379 w 5860123"/>
              <a:gd name="connsiteY524" fmla="*/ 1979688 h 4856353"/>
              <a:gd name="connsiteX525" fmla="*/ 4448756 w 5860123"/>
              <a:gd name="connsiteY525" fmla="*/ 1974925 h 4856353"/>
              <a:gd name="connsiteX526" fmla="*/ 4430659 w 5860123"/>
              <a:gd name="connsiteY526" fmla="*/ 2001595 h 4856353"/>
              <a:gd name="connsiteX527" fmla="*/ 4420181 w 5860123"/>
              <a:gd name="connsiteY527" fmla="*/ 2032075 h 4856353"/>
              <a:gd name="connsiteX528" fmla="*/ 4422087 w 5860123"/>
              <a:gd name="connsiteY528" fmla="*/ 2069223 h 4856353"/>
              <a:gd name="connsiteX529" fmla="*/ 4446852 w 5860123"/>
              <a:gd name="connsiteY529" fmla="*/ 2104465 h 4856353"/>
              <a:gd name="connsiteX530" fmla="*/ 4474474 w 5860123"/>
              <a:gd name="connsiteY530" fmla="*/ 2138756 h 4856353"/>
              <a:gd name="connsiteX531" fmla="*/ 4489714 w 5860123"/>
              <a:gd name="connsiteY531" fmla="*/ 2130183 h 4856353"/>
              <a:gd name="connsiteX532" fmla="*/ 4514479 w 5860123"/>
              <a:gd name="connsiteY532" fmla="*/ 2132088 h 4856353"/>
              <a:gd name="connsiteX533" fmla="*/ 4541149 w 5860123"/>
              <a:gd name="connsiteY533" fmla="*/ 2114943 h 4856353"/>
              <a:gd name="connsiteX534" fmla="*/ 4565914 w 5860123"/>
              <a:gd name="connsiteY534" fmla="*/ 2120658 h 4856353"/>
              <a:gd name="connsiteX535" fmla="*/ 4584012 w 5860123"/>
              <a:gd name="connsiteY535" fmla="*/ 2148281 h 4856353"/>
              <a:gd name="connsiteX536" fmla="*/ 4579249 w 5860123"/>
              <a:gd name="connsiteY536" fmla="*/ 2176856 h 4856353"/>
              <a:gd name="connsiteX537" fmla="*/ 4573534 w 5860123"/>
              <a:gd name="connsiteY537" fmla="*/ 2213051 h 4856353"/>
              <a:gd name="connsiteX538" fmla="*/ 4594489 w 5860123"/>
              <a:gd name="connsiteY538" fmla="*/ 2240673 h 4856353"/>
              <a:gd name="connsiteX539" fmla="*/ 4630684 w 5860123"/>
              <a:gd name="connsiteY539" fmla="*/ 2245435 h 4856353"/>
              <a:gd name="connsiteX540" fmla="*/ 4653544 w 5860123"/>
              <a:gd name="connsiteY540" fmla="*/ 2241626 h 4856353"/>
              <a:gd name="connsiteX541" fmla="*/ 4667831 w 5860123"/>
              <a:gd name="connsiteY541" fmla="*/ 2237815 h 4856353"/>
              <a:gd name="connsiteX542" fmla="*/ 4674499 w 5860123"/>
              <a:gd name="connsiteY542" fmla="*/ 2213051 h 4856353"/>
              <a:gd name="connsiteX543" fmla="*/ 4684977 w 5860123"/>
              <a:gd name="connsiteY543" fmla="*/ 2201621 h 4856353"/>
              <a:gd name="connsiteX544" fmla="*/ 4703074 w 5860123"/>
              <a:gd name="connsiteY544" fmla="*/ 2189238 h 4856353"/>
              <a:gd name="connsiteX545" fmla="*/ 4729744 w 5860123"/>
              <a:gd name="connsiteY545" fmla="*/ 2153996 h 4856353"/>
              <a:gd name="connsiteX546" fmla="*/ 4764034 w 5860123"/>
              <a:gd name="connsiteY546" fmla="*/ 2135898 h 4856353"/>
              <a:gd name="connsiteX547" fmla="*/ 4790704 w 5860123"/>
              <a:gd name="connsiteY547" fmla="*/ 2150185 h 4856353"/>
              <a:gd name="connsiteX548" fmla="*/ 4824041 w 5860123"/>
              <a:gd name="connsiteY548" fmla="*/ 2160663 h 4856353"/>
              <a:gd name="connsiteX549" fmla="*/ 4836424 w 5860123"/>
              <a:gd name="connsiteY549" fmla="*/ 2170188 h 4856353"/>
              <a:gd name="connsiteX550" fmla="*/ 4860237 w 5860123"/>
              <a:gd name="connsiteY550" fmla="*/ 2176856 h 4856353"/>
              <a:gd name="connsiteX551" fmla="*/ 4891669 w 5860123"/>
              <a:gd name="connsiteY551" fmla="*/ 2161615 h 4856353"/>
              <a:gd name="connsiteX552" fmla="*/ 4914529 w 5860123"/>
              <a:gd name="connsiteY552" fmla="*/ 2165426 h 4856353"/>
              <a:gd name="connsiteX553" fmla="*/ 4932627 w 5860123"/>
              <a:gd name="connsiteY553" fmla="*/ 2174951 h 4856353"/>
              <a:gd name="connsiteX554" fmla="*/ 4961202 w 5860123"/>
              <a:gd name="connsiteY554" fmla="*/ 2167331 h 4856353"/>
              <a:gd name="connsiteX555" fmla="*/ 4965011 w 5860123"/>
              <a:gd name="connsiteY555" fmla="*/ 2176856 h 4856353"/>
              <a:gd name="connsiteX556" fmla="*/ 4956439 w 5860123"/>
              <a:gd name="connsiteY556" fmla="*/ 2190190 h 4856353"/>
              <a:gd name="connsiteX557" fmla="*/ 4951677 w 5860123"/>
              <a:gd name="connsiteY557" fmla="*/ 2210193 h 4856353"/>
              <a:gd name="connsiteX558" fmla="*/ 4955486 w 5860123"/>
              <a:gd name="connsiteY558" fmla="*/ 2233053 h 4856353"/>
              <a:gd name="connsiteX559" fmla="*/ 4950724 w 5860123"/>
              <a:gd name="connsiteY559" fmla="*/ 2248293 h 4856353"/>
              <a:gd name="connsiteX560" fmla="*/ 4925959 w 5860123"/>
              <a:gd name="connsiteY560" fmla="*/ 2252103 h 4856353"/>
              <a:gd name="connsiteX561" fmla="*/ 4900241 w 5860123"/>
              <a:gd name="connsiteY561" fmla="*/ 2243531 h 4856353"/>
              <a:gd name="connsiteX562" fmla="*/ 4872619 w 5860123"/>
              <a:gd name="connsiteY562" fmla="*/ 2262581 h 4856353"/>
              <a:gd name="connsiteX563" fmla="*/ 4824994 w 5860123"/>
              <a:gd name="connsiteY563" fmla="*/ 2286393 h 4856353"/>
              <a:gd name="connsiteX564" fmla="*/ 4799277 w 5860123"/>
              <a:gd name="connsiteY564" fmla="*/ 2319731 h 4856353"/>
              <a:gd name="connsiteX565" fmla="*/ 4787847 w 5860123"/>
              <a:gd name="connsiteY565" fmla="*/ 2324493 h 4856353"/>
              <a:gd name="connsiteX566" fmla="*/ 4774512 w 5860123"/>
              <a:gd name="connsiteY566" fmla="*/ 2332113 h 4856353"/>
              <a:gd name="connsiteX567" fmla="*/ 4779274 w 5860123"/>
              <a:gd name="connsiteY567" fmla="*/ 2357831 h 4856353"/>
              <a:gd name="connsiteX568" fmla="*/ 4770702 w 5860123"/>
              <a:gd name="connsiteY568" fmla="*/ 2372118 h 4856353"/>
              <a:gd name="connsiteX569" fmla="*/ 4744031 w 5860123"/>
              <a:gd name="connsiteY569" fmla="*/ 2381643 h 4856353"/>
              <a:gd name="connsiteX570" fmla="*/ 4738316 w 5860123"/>
              <a:gd name="connsiteY570" fmla="*/ 2365451 h 4856353"/>
              <a:gd name="connsiteX571" fmla="*/ 4716409 w 5860123"/>
              <a:gd name="connsiteY571" fmla="*/ 2360688 h 4856353"/>
              <a:gd name="connsiteX572" fmla="*/ 4718314 w 5860123"/>
              <a:gd name="connsiteY572" fmla="*/ 2383548 h 4856353"/>
              <a:gd name="connsiteX573" fmla="*/ 4719266 w 5860123"/>
              <a:gd name="connsiteY573" fmla="*/ 2406408 h 4856353"/>
              <a:gd name="connsiteX574" fmla="*/ 4703074 w 5860123"/>
              <a:gd name="connsiteY574" fmla="*/ 2434031 h 4856353"/>
              <a:gd name="connsiteX575" fmla="*/ 4677356 w 5860123"/>
              <a:gd name="connsiteY575" fmla="*/ 2464511 h 4856353"/>
              <a:gd name="connsiteX576" fmla="*/ 4649734 w 5860123"/>
              <a:gd name="connsiteY576" fmla="*/ 2515946 h 4856353"/>
              <a:gd name="connsiteX577" fmla="*/ 4638304 w 5860123"/>
              <a:gd name="connsiteY577" fmla="*/ 2531186 h 4856353"/>
              <a:gd name="connsiteX578" fmla="*/ 4641162 w 5860123"/>
              <a:gd name="connsiteY578" fmla="*/ 2567381 h 4856353"/>
              <a:gd name="connsiteX579" fmla="*/ 4682119 w 5860123"/>
              <a:gd name="connsiteY579" fmla="*/ 2588336 h 4856353"/>
              <a:gd name="connsiteX580" fmla="*/ 4732602 w 5860123"/>
              <a:gd name="connsiteY580" fmla="*/ 2607386 h 4856353"/>
              <a:gd name="connsiteX581" fmla="*/ 4766891 w 5860123"/>
              <a:gd name="connsiteY581" fmla="*/ 2635008 h 4856353"/>
              <a:gd name="connsiteX582" fmla="*/ 4782131 w 5860123"/>
              <a:gd name="connsiteY582" fmla="*/ 2669298 h 4856353"/>
              <a:gd name="connsiteX583" fmla="*/ 4811659 w 5860123"/>
              <a:gd name="connsiteY583" fmla="*/ 2743593 h 4856353"/>
              <a:gd name="connsiteX584" fmla="*/ 4840234 w 5860123"/>
              <a:gd name="connsiteY584" fmla="*/ 2785503 h 4856353"/>
              <a:gd name="connsiteX585" fmla="*/ 4848806 w 5860123"/>
              <a:gd name="connsiteY585" fmla="*/ 2822650 h 4856353"/>
              <a:gd name="connsiteX586" fmla="*/ 4858331 w 5860123"/>
              <a:gd name="connsiteY586" fmla="*/ 2848368 h 4856353"/>
              <a:gd name="connsiteX587" fmla="*/ 4888811 w 5860123"/>
              <a:gd name="connsiteY587" fmla="*/ 2859798 h 4856353"/>
              <a:gd name="connsiteX588" fmla="*/ 4911672 w 5860123"/>
              <a:gd name="connsiteY588" fmla="*/ 2879800 h 4856353"/>
              <a:gd name="connsiteX589" fmla="*/ 4918339 w 5860123"/>
              <a:gd name="connsiteY589" fmla="*/ 2898850 h 4856353"/>
              <a:gd name="connsiteX590" fmla="*/ 4951677 w 5860123"/>
              <a:gd name="connsiteY590" fmla="*/ 2912186 h 4856353"/>
              <a:gd name="connsiteX591" fmla="*/ 4978347 w 5860123"/>
              <a:gd name="connsiteY591" fmla="*/ 2954096 h 4856353"/>
              <a:gd name="connsiteX592" fmla="*/ 4960249 w 5860123"/>
              <a:gd name="connsiteY592" fmla="*/ 2957906 h 4856353"/>
              <a:gd name="connsiteX593" fmla="*/ 4949368 w 5860123"/>
              <a:gd name="connsiteY593" fmla="*/ 2953442 h 4856353"/>
              <a:gd name="connsiteX594" fmla="*/ 4962153 w 5860123"/>
              <a:gd name="connsiteY594" fmla="*/ 2961715 h 4856353"/>
              <a:gd name="connsiteX595" fmla="*/ 4998348 w 5860123"/>
              <a:gd name="connsiteY595" fmla="*/ 2976002 h 4856353"/>
              <a:gd name="connsiteX596" fmla="*/ 4996444 w 5860123"/>
              <a:gd name="connsiteY596" fmla="*/ 2988385 h 4856353"/>
              <a:gd name="connsiteX597" fmla="*/ 4972631 w 5860123"/>
              <a:gd name="connsiteY597" fmla="*/ 2983622 h 4856353"/>
              <a:gd name="connsiteX598" fmla="*/ 4950723 w 5860123"/>
              <a:gd name="connsiteY598" fmla="*/ 2974097 h 4856353"/>
              <a:gd name="connsiteX599" fmla="*/ 4934531 w 5860123"/>
              <a:gd name="connsiteY599" fmla="*/ 2967430 h 4856353"/>
              <a:gd name="connsiteX600" fmla="*/ 4923101 w 5860123"/>
              <a:gd name="connsiteY600" fmla="*/ 2958857 h 4856353"/>
              <a:gd name="connsiteX601" fmla="*/ 4930721 w 5860123"/>
              <a:gd name="connsiteY601" fmla="*/ 2949332 h 4856353"/>
              <a:gd name="connsiteX602" fmla="*/ 4943133 w 5860123"/>
              <a:gd name="connsiteY602" fmla="*/ 2950884 h 4856353"/>
              <a:gd name="connsiteX603" fmla="*/ 4923102 w 5860123"/>
              <a:gd name="connsiteY603" fmla="*/ 2942665 h 4856353"/>
              <a:gd name="connsiteX604" fmla="*/ 4895479 w 5860123"/>
              <a:gd name="connsiteY604" fmla="*/ 2944571 h 4856353"/>
              <a:gd name="connsiteX605" fmla="*/ 4875477 w 5860123"/>
              <a:gd name="connsiteY605" fmla="*/ 2947428 h 4856353"/>
              <a:gd name="connsiteX606" fmla="*/ 4855474 w 5860123"/>
              <a:gd name="connsiteY606" fmla="*/ 2930283 h 4856353"/>
              <a:gd name="connsiteX607" fmla="*/ 4813564 w 5860123"/>
              <a:gd name="connsiteY607" fmla="*/ 2922663 h 4856353"/>
              <a:gd name="connsiteX608" fmla="*/ 4799277 w 5860123"/>
              <a:gd name="connsiteY608" fmla="*/ 2938856 h 4856353"/>
              <a:gd name="connsiteX609" fmla="*/ 4814516 w 5860123"/>
              <a:gd name="connsiteY609" fmla="*/ 2937903 h 4856353"/>
              <a:gd name="connsiteX610" fmla="*/ 4841187 w 5860123"/>
              <a:gd name="connsiteY610" fmla="*/ 2933140 h 4856353"/>
              <a:gd name="connsiteX611" fmla="*/ 4855474 w 5860123"/>
              <a:gd name="connsiteY611" fmla="*/ 2954096 h 4856353"/>
              <a:gd name="connsiteX612" fmla="*/ 4878334 w 5860123"/>
              <a:gd name="connsiteY612" fmla="*/ 2960763 h 4856353"/>
              <a:gd name="connsiteX613" fmla="*/ 4914529 w 5860123"/>
              <a:gd name="connsiteY613" fmla="*/ 2989338 h 4856353"/>
              <a:gd name="connsiteX614" fmla="*/ 4941199 w 5860123"/>
              <a:gd name="connsiteY614" fmla="*/ 3003625 h 4856353"/>
              <a:gd name="connsiteX615" fmla="*/ 4970727 w 5860123"/>
              <a:gd name="connsiteY615" fmla="*/ 3023628 h 4856353"/>
              <a:gd name="connsiteX616" fmla="*/ 4991682 w 5860123"/>
              <a:gd name="connsiteY616" fmla="*/ 3060775 h 4856353"/>
              <a:gd name="connsiteX617" fmla="*/ 4965011 w 5860123"/>
              <a:gd name="connsiteY617" fmla="*/ 3074111 h 4856353"/>
              <a:gd name="connsiteX618" fmla="*/ 4937389 w 5860123"/>
              <a:gd name="connsiteY618" fmla="*/ 3092208 h 4856353"/>
              <a:gd name="connsiteX619" fmla="*/ 4910719 w 5860123"/>
              <a:gd name="connsiteY619" fmla="*/ 3110306 h 4856353"/>
              <a:gd name="connsiteX620" fmla="*/ 4890716 w 5860123"/>
              <a:gd name="connsiteY620" fmla="*/ 3136023 h 4856353"/>
              <a:gd name="connsiteX621" fmla="*/ 4882144 w 5860123"/>
              <a:gd name="connsiteY621" fmla="*/ 3149358 h 4856353"/>
              <a:gd name="connsiteX622" fmla="*/ 4864047 w 5860123"/>
              <a:gd name="connsiteY622" fmla="*/ 3151263 h 4856353"/>
              <a:gd name="connsiteX623" fmla="*/ 4833566 w 5860123"/>
              <a:gd name="connsiteY623" fmla="*/ 3154121 h 4856353"/>
              <a:gd name="connsiteX624" fmla="*/ 4819279 w 5860123"/>
              <a:gd name="connsiteY624" fmla="*/ 3170313 h 4856353"/>
              <a:gd name="connsiteX625" fmla="*/ 4834519 w 5860123"/>
              <a:gd name="connsiteY625" fmla="*/ 3163646 h 4856353"/>
              <a:gd name="connsiteX626" fmla="*/ 4849759 w 5860123"/>
              <a:gd name="connsiteY626" fmla="*/ 3158883 h 4856353"/>
              <a:gd name="connsiteX627" fmla="*/ 4861189 w 5860123"/>
              <a:gd name="connsiteY627" fmla="*/ 3180790 h 4856353"/>
              <a:gd name="connsiteX628" fmla="*/ 4880239 w 5860123"/>
              <a:gd name="connsiteY628" fmla="*/ 3182696 h 4856353"/>
              <a:gd name="connsiteX629" fmla="*/ 4903099 w 5860123"/>
              <a:gd name="connsiteY629" fmla="*/ 3163646 h 4856353"/>
              <a:gd name="connsiteX630" fmla="*/ 4935484 w 5860123"/>
              <a:gd name="connsiteY630" fmla="*/ 3152215 h 4856353"/>
              <a:gd name="connsiteX631" fmla="*/ 4967869 w 5860123"/>
              <a:gd name="connsiteY631" fmla="*/ 3179838 h 4856353"/>
              <a:gd name="connsiteX632" fmla="*/ 5007874 w 5860123"/>
              <a:gd name="connsiteY632" fmla="*/ 3196031 h 4856353"/>
              <a:gd name="connsiteX633" fmla="*/ 5032639 w 5860123"/>
              <a:gd name="connsiteY633" fmla="*/ 3196983 h 4856353"/>
              <a:gd name="connsiteX634" fmla="*/ 5018352 w 5860123"/>
              <a:gd name="connsiteY634" fmla="*/ 3212223 h 4856353"/>
              <a:gd name="connsiteX635" fmla="*/ 4996444 w 5860123"/>
              <a:gd name="connsiteY635" fmla="*/ 3237940 h 4856353"/>
              <a:gd name="connsiteX636" fmla="*/ 4970727 w 5860123"/>
              <a:gd name="connsiteY636" fmla="*/ 3252228 h 4856353"/>
              <a:gd name="connsiteX637" fmla="*/ 4961202 w 5860123"/>
              <a:gd name="connsiteY637" fmla="*/ 3264611 h 4856353"/>
              <a:gd name="connsiteX638" fmla="*/ 4980252 w 5860123"/>
              <a:gd name="connsiteY638" fmla="*/ 3261753 h 4856353"/>
              <a:gd name="connsiteX639" fmla="*/ 5005016 w 5860123"/>
              <a:gd name="connsiteY639" fmla="*/ 3243656 h 4856353"/>
              <a:gd name="connsiteX640" fmla="*/ 5019304 w 5860123"/>
              <a:gd name="connsiteY640" fmla="*/ 3237940 h 4856353"/>
              <a:gd name="connsiteX641" fmla="*/ 5024066 w 5860123"/>
              <a:gd name="connsiteY641" fmla="*/ 3257943 h 4856353"/>
              <a:gd name="connsiteX642" fmla="*/ 5026924 w 5860123"/>
              <a:gd name="connsiteY642" fmla="*/ 3286518 h 4856353"/>
              <a:gd name="connsiteX643" fmla="*/ 5005016 w 5860123"/>
              <a:gd name="connsiteY643" fmla="*/ 3296996 h 4856353"/>
              <a:gd name="connsiteX644" fmla="*/ 4985966 w 5860123"/>
              <a:gd name="connsiteY644" fmla="*/ 3293186 h 4856353"/>
              <a:gd name="connsiteX645" fmla="*/ 4978347 w 5860123"/>
              <a:gd name="connsiteY645" fmla="*/ 3287471 h 4856353"/>
              <a:gd name="connsiteX646" fmla="*/ 4970727 w 5860123"/>
              <a:gd name="connsiteY646" fmla="*/ 3302711 h 4856353"/>
              <a:gd name="connsiteX647" fmla="*/ 4981204 w 5860123"/>
              <a:gd name="connsiteY647" fmla="*/ 3311283 h 4856353"/>
              <a:gd name="connsiteX648" fmla="*/ 4996444 w 5860123"/>
              <a:gd name="connsiteY648" fmla="*/ 3321761 h 4856353"/>
              <a:gd name="connsiteX649" fmla="*/ 4998349 w 5860123"/>
              <a:gd name="connsiteY649" fmla="*/ 3344621 h 4856353"/>
              <a:gd name="connsiteX650" fmla="*/ 4984061 w 5860123"/>
              <a:gd name="connsiteY650" fmla="*/ 3366528 h 4856353"/>
              <a:gd name="connsiteX651" fmla="*/ 4983109 w 5860123"/>
              <a:gd name="connsiteY651" fmla="*/ 3384625 h 4856353"/>
              <a:gd name="connsiteX652" fmla="*/ 4992634 w 5860123"/>
              <a:gd name="connsiteY652" fmla="*/ 3406533 h 4856353"/>
              <a:gd name="connsiteX653" fmla="*/ 4986919 w 5860123"/>
              <a:gd name="connsiteY653" fmla="*/ 3420821 h 4856353"/>
              <a:gd name="connsiteX654" fmla="*/ 4974536 w 5860123"/>
              <a:gd name="connsiteY654" fmla="*/ 3434156 h 4856353"/>
              <a:gd name="connsiteX655" fmla="*/ 4963107 w 5860123"/>
              <a:gd name="connsiteY655" fmla="*/ 3456063 h 4856353"/>
              <a:gd name="connsiteX656" fmla="*/ 4947866 w 5860123"/>
              <a:gd name="connsiteY656" fmla="*/ 3457015 h 4856353"/>
              <a:gd name="connsiteX657" fmla="*/ 4953582 w 5860123"/>
              <a:gd name="connsiteY657" fmla="*/ 3438918 h 4856353"/>
              <a:gd name="connsiteX658" fmla="*/ 4957391 w 5860123"/>
              <a:gd name="connsiteY658" fmla="*/ 3422725 h 4856353"/>
              <a:gd name="connsiteX659" fmla="*/ 4943104 w 5860123"/>
              <a:gd name="connsiteY659" fmla="*/ 3425583 h 4856353"/>
              <a:gd name="connsiteX660" fmla="*/ 4930722 w 5860123"/>
              <a:gd name="connsiteY660" fmla="*/ 3463683 h 4856353"/>
              <a:gd name="connsiteX661" fmla="*/ 4904052 w 5860123"/>
              <a:gd name="connsiteY661" fmla="*/ 3470350 h 4856353"/>
              <a:gd name="connsiteX662" fmla="*/ 4906909 w 5860123"/>
              <a:gd name="connsiteY662" fmla="*/ 3482733 h 4856353"/>
              <a:gd name="connsiteX663" fmla="*/ 4912624 w 5860123"/>
              <a:gd name="connsiteY663" fmla="*/ 3496068 h 4856353"/>
              <a:gd name="connsiteX664" fmla="*/ 4899289 w 5860123"/>
              <a:gd name="connsiteY664" fmla="*/ 3514165 h 4856353"/>
              <a:gd name="connsiteX665" fmla="*/ 4899289 w 5860123"/>
              <a:gd name="connsiteY665" fmla="*/ 3545598 h 4856353"/>
              <a:gd name="connsiteX666" fmla="*/ 4899289 w 5860123"/>
              <a:gd name="connsiteY666" fmla="*/ 3562743 h 4856353"/>
              <a:gd name="connsiteX667" fmla="*/ 4887859 w 5860123"/>
              <a:gd name="connsiteY667" fmla="*/ 3581793 h 4856353"/>
              <a:gd name="connsiteX668" fmla="*/ 4865952 w 5860123"/>
              <a:gd name="connsiteY668" fmla="*/ 3578936 h 4856353"/>
              <a:gd name="connsiteX669" fmla="*/ 4849759 w 5860123"/>
              <a:gd name="connsiteY669" fmla="*/ 3585603 h 4856353"/>
              <a:gd name="connsiteX670" fmla="*/ 4869762 w 5860123"/>
              <a:gd name="connsiteY670" fmla="*/ 3592271 h 4856353"/>
              <a:gd name="connsiteX671" fmla="*/ 4868809 w 5860123"/>
              <a:gd name="connsiteY671" fmla="*/ 3604653 h 4856353"/>
              <a:gd name="connsiteX672" fmla="*/ 4862141 w 5860123"/>
              <a:gd name="connsiteY672" fmla="*/ 3617988 h 4856353"/>
              <a:gd name="connsiteX673" fmla="*/ 4847854 w 5860123"/>
              <a:gd name="connsiteY673" fmla="*/ 3628465 h 4856353"/>
              <a:gd name="connsiteX674" fmla="*/ 4846902 w 5860123"/>
              <a:gd name="connsiteY674" fmla="*/ 3646563 h 4856353"/>
              <a:gd name="connsiteX675" fmla="*/ 4848806 w 5860123"/>
              <a:gd name="connsiteY675" fmla="*/ 3669423 h 4856353"/>
              <a:gd name="connsiteX676" fmla="*/ 4827852 w 5860123"/>
              <a:gd name="connsiteY676" fmla="*/ 3681806 h 4856353"/>
              <a:gd name="connsiteX677" fmla="*/ 4829756 w 5860123"/>
              <a:gd name="connsiteY677" fmla="*/ 3669423 h 4856353"/>
              <a:gd name="connsiteX678" fmla="*/ 4836424 w 5860123"/>
              <a:gd name="connsiteY678" fmla="*/ 3654183 h 4856353"/>
              <a:gd name="connsiteX679" fmla="*/ 4824994 w 5860123"/>
              <a:gd name="connsiteY679" fmla="*/ 3655136 h 4856353"/>
              <a:gd name="connsiteX680" fmla="*/ 4812612 w 5860123"/>
              <a:gd name="connsiteY680" fmla="*/ 3645611 h 4856353"/>
              <a:gd name="connsiteX681" fmla="*/ 4787847 w 5860123"/>
              <a:gd name="connsiteY681" fmla="*/ 3653231 h 4856353"/>
              <a:gd name="connsiteX682" fmla="*/ 4804039 w 5860123"/>
              <a:gd name="connsiteY682" fmla="*/ 3674186 h 4856353"/>
              <a:gd name="connsiteX683" fmla="*/ 4802134 w 5860123"/>
              <a:gd name="connsiteY683" fmla="*/ 3693236 h 4856353"/>
              <a:gd name="connsiteX684" fmla="*/ 4797372 w 5860123"/>
              <a:gd name="connsiteY684" fmla="*/ 3704665 h 4856353"/>
              <a:gd name="connsiteX685" fmla="*/ 4819279 w 5860123"/>
              <a:gd name="connsiteY685" fmla="*/ 3705618 h 4856353"/>
              <a:gd name="connsiteX686" fmla="*/ 4832614 w 5860123"/>
              <a:gd name="connsiteY686" fmla="*/ 3710381 h 4856353"/>
              <a:gd name="connsiteX687" fmla="*/ 4817374 w 5860123"/>
              <a:gd name="connsiteY687" fmla="*/ 3718000 h 4856353"/>
              <a:gd name="connsiteX688" fmla="*/ 4807849 w 5860123"/>
              <a:gd name="connsiteY688" fmla="*/ 3724668 h 4856353"/>
              <a:gd name="connsiteX689" fmla="*/ 4798324 w 5860123"/>
              <a:gd name="connsiteY689" fmla="*/ 3738956 h 4856353"/>
              <a:gd name="connsiteX690" fmla="*/ 4811659 w 5860123"/>
              <a:gd name="connsiteY690" fmla="*/ 3753243 h 4856353"/>
              <a:gd name="connsiteX691" fmla="*/ 4811659 w 5860123"/>
              <a:gd name="connsiteY691" fmla="*/ 3768483 h 4856353"/>
              <a:gd name="connsiteX692" fmla="*/ 4804991 w 5860123"/>
              <a:gd name="connsiteY692" fmla="*/ 3780865 h 4856353"/>
              <a:gd name="connsiteX693" fmla="*/ 4808802 w 5860123"/>
              <a:gd name="connsiteY693" fmla="*/ 3794200 h 4856353"/>
              <a:gd name="connsiteX694" fmla="*/ 4793562 w 5860123"/>
              <a:gd name="connsiteY694" fmla="*/ 3801821 h 4856353"/>
              <a:gd name="connsiteX695" fmla="*/ 4802134 w 5860123"/>
              <a:gd name="connsiteY695" fmla="*/ 3818965 h 4856353"/>
              <a:gd name="connsiteX696" fmla="*/ 4815469 w 5860123"/>
              <a:gd name="connsiteY696" fmla="*/ 3838015 h 4856353"/>
              <a:gd name="connsiteX697" fmla="*/ 4801181 w 5860123"/>
              <a:gd name="connsiteY697" fmla="*/ 3838968 h 4856353"/>
              <a:gd name="connsiteX698" fmla="*/ 4781179 w 5860123"/>
              <a:gd name="connsiteY698" fmla="*/ 3819918 h 4856353"/>
              <a:gd name="connsiteX699" fmla="*/ 4773559 w 5860123"/>
              <a:gd name="connsiteY699" fmla="*/ 3829443 h 4856353"/>
              <a:gd name="connsiteX700" fmla="*/ 4758319 w 5860123"/>
              <a:gd name="connsiteY700" fmla="*/ 3837063 h 4856353"/>
              <a:gd name="connsiteX701" fmla="*/ 4767844 w 5860123"/>
              <a:gd name="connsiteY701" fmla="*/ 3853256 h 4856353"/>
              <a:gd name="connsiteX702" fmla="*/ 4775464 w 5860123"/>
              <a:gd name="connsiteY702" fmla="*/ 3868496 h 4856353"/>
              <a:gd name="connsiteX703" fmla="*/ 4759272 w 5860123"/>
              <a:gd name="connsiteY703" fmla="*/ 3878973 h 4856353"/>
              <a:gd name="connsiteX704" fmla="*/ 4743079 w 5860123"/>
              <a:gd name="connsiteY704" fmla="*/ 3874211 h 4856353"/>
              <a:gd name="connsiteX705" fmla="*/ 4730697 w 5860123"/>
              <a:gd name="connsiteY705" fmla="*/ 3864686 h 4856353"/>
              <a:gd name="connsiteX706" fmla="*/ 4735459 w 5860123"/>
              <a:gd name="connsiteY706" fmla="*/ 3885640 h 4856353"/>
              <a:gd name="connsiteX707" fmla="*/ 4739269 w 5860123"/>
              <a:gd name="connsiteY707" fmla="*/ 3914215 h 4856353"/>
              <a:gd name="connsiteX708" fmla="*/ 4709741 w 5860123"/>
              <a:gd name="connsiteY708" fmla="*/ 3919931 h 4856353"/>
              <a:gd name="connsiteX709" fmla="*/ 4713552 w 5860123"/>
              <a:gd name="connsiteY709" fmla="*/ 3932313 h 4856353"/>
              <a:gd name="connsiteX710" fmla="*/ 4716409 w 5860123"/>
              <a:gd name="connsiteY710" fmla="*/ 3943743 h 4856353"/>
              <a:gd name="connsiteX711" fmla="*/ 4708789 w 5860123"/>
              <a:gd name="connsiteY711" fmla="*/ 3958983 h 4856353"/>
              <a:gd name="connsiteX712" fmla="*/ 4694502 w 5860123"/>
              <a:gd name="connsiteY712" fmla="*/ 3960888 h 4856353"/>
              <a:gd name="connsiteX713" fmla="*/ 4667831 w 5860123"/>
              <a:gd name="connsiteY713" fmla="*/ 3958983 h 4856353"/>
              <a:gd name="connsiteX714" fmla="*/ 4652591 w 5860123"/>
              <a:gd name="connsiteY714" fmla="*/ 3955173 h 4856353"/>
              <a:gd name="connsiteX715" fmla="*/ 4643066 w 5860123"/>
              <a:gd name="connsiteY715" fmla="*/ 3951363 h 4856353"/>
              <a:gd name="connsiteX716" fmla="*/ 4646877 w 5860123"/>
              <a:gd name="connsiteY716" fmla="*/ 3971365 h 4856353"/>
              <a:gd name="connsiteX717" fmla="*/ 4636399 w 5860123"/>
              <a:gd name="connsiteY717" fmla="*/ 3979938 h 4856353"/>
              <a:gd name="connsiteX718" fmla="*/ 4617349 w 5860123"/>
              <a:gd name="connsiteY718" fmla="*/ 3979938 h 4856353"/>
              <a:gd name="connsiteX719" fmla="*/ 4624969 w 5860123"/>
              <a:gd name="connsiteY719" fmla="*/ 3988511 h 4856353"/>
              <a:gd name="connsiteX720" fmla="*/ 4641162 w 5860123"/>
              <a:gd name="connsiteY720" fmla="*/ 3992321 h 4856353"/>
              <a:gd name="connsiteX721" fmla="*/ 4631637 w 5860123"/>
              <a:gd name="connsiteY721" fmla="*/ 4014228 h 4856353"/>
              <a:gd name="connsiteX722" fmla="*/ 4619254 w 5860123"/>
              <a:gd name="connsiteY722" fmla="*/ 4031373 h 4856353"/>
              <a:gd name="connsiteX723" fmla="*/ 4606872 w 5860123"/>
              <a:gd name="connsiteY723" fmla="*/ 4040898 h 4856353"/>
              <a:gd name="connsiteX724" fmla="*/ 4594489 w 5860123"/>
              <a:gd name="connsiteY724" fmla="*/ 4056138 h 4856353"/>
              <a:gd name="connsiteX725" fmla="*/ 4583059 w 5860123"/>
              <a:gd name="connsiteY725" fmla="*/ 4058996 h 4856353"/>
              <a:gd name="connsiteX726" fmla="*/ 4572581 w 5860123"/>
              <a:gd name="connsiteY726" fmla="*/ 4063758 h 4856353"/>
              <a:gd name="connsiteX727" fmla="*/ 4559247 w 5860123"/>
              <a:gd name="connsiteY727" fmla="*/ 4075188 h 4856353"/>
              <a:gd name="connsiteX728" fmla="*/ 4544959 w 5860123"/>
              <a:gd name="connsiteY728" fmla="*/ 4086618 h 4856353"/>
              <a:gd name="connsiteX729" fmla="*/ 4531624 w 5860123"/>
              <a:gd name="connsiteY729" fmla="*/ 4099000 h 4856353"/>
              <a:gd name="connsiteX730" fmla="*/ 4513527 w 5860123"/>
              <a:gd name="connsiteY730" fmla="*/ 4097096 h 4856353"/>
              <a:gd name="connsiteX731" fmla="*/ 4501144 w 5860123"/>
              <a:gd name="connsiteY731" fmla="*/ 4109478 h 4856353"/>
              <a:gd name="connsiteX732" fmla="*/ 4496381 w 5860123"/>
              <a:gd name="connsiteY732" fmla="*/ 4123765 h 4856353"/>
              <a:gd name="connsiteX733" fmla="*/ 4488762 w 5860123"/>
              <a:gd name="connsiteY733" fmla="*/ 4141863 h 4856353"/>
              <a:gd name="connsiteX734" fmla="*/ 4471616 w 5860123"/>
              <a:gd name="connsiteY734" fmla="*/ 4160913 h 4856353"/>
              <a:gd name="connsiteX735" fmla="*/ 4462091 w 5860123"/>
              <a:gd name="connsiteY735" fmla="*/ 4176153 h 4856353"/>
              <a:gd name="connsiteX736" fmla="*/ 4455424 w 5860123"/>
              <a:gd name="connsiteY736" fmla="*/ 4191393 h 4856353"/>
              <a:gd name="connsiteX737" fmla="*/ 4434469 w 5860123"/>
              <a:gd name="connsiteY737" fmla="*/ 4194251 h 4856353"/>
              <a:gd name="connsiteX738" fmla="*/ 4415419 w 5860123"/>
              <a:gd name="connsiteY738" fmla="*/ 4205681 h 4856353"/>
              <a:gd name="connsiteX739" fmla="*/ 4399227 w 5860123"/>
              <a:gd name="connsiteY739" fmla="*/ 4213301 h 4856353"/>
              <a:gd name="connsiteX740" fmla="*/ 4380177 w 5860123"/>
              <a:gd name="connsiteY740" fmla="*/ 4221873 h 4856353"/>
              <a:gd name="connsiteX741" fmla="*/ 4368747 w 5860123"/>
              <a:gd name="connsiteY741" fmla="*/ 4217111 h 4856353"/>
              <a:gd name="connsiteX742" fmla="*/ 4351602 w 5860123"/>
              <a:gd name="connsiteY742" fmla="*/ 4211396 h 4856353"/>
              <a:gd name="connsiteX743" fmla="*/ 4340172 w 5860123"/>
              <a:gd name="connsiteY743" fmla="*/ 4225683 h 4856353"/>
              <a:gd name="connsiteX744" fmla="*/ 4327789 w 5860123"/>
              <a:gd name="connsiteY744" fmla="*/ 4239018 h 4856353"/>
              <a:gd name="connsiteX745" fmla="*/ 4309691 w 5860123"/>
              <a:gd name="connsiteY745" fmla="*/ 4226636 h 4856353"/>
              <a:gd name="connsiteX746" fmla="*/ 4284927 w 5860123"/>
              <a:gd name="connsiteY746" fmla="*/ 4224731 h 4856353"/>
              <a:gd name="connsiteX747" fmla="*/ 4264924 w 5860123"/>
              <a:gd name="connsiteY747" fmla="*/ 4250448 h 4856353"/>
              <a:gd name="connsiteX748" fmla="*/ 4249684 w 5860123"/>
              <a:gd name="connsiteY748" fmla="*/ 4259021 h 4856353"/>
              <a:gd name="connsiteX749" fmla="*/ 4241112 w 5860123"/>
              <a:gd name="connsiteY749" fmla="*/ 4239018 h 4856353"/>
              <a:gd name="connsiteX750" fmla="*/ 4223966 w 5860123"/>
              <a:gd name="connsiteY750" fmla="*/ 4235208 h 4856353"/>
              <a:gd name="connsiteX751" fmla="*/ 4222062 w 5860123"/>
              <a:gd name="connsiteY751" fmla="*/ 4258068 h 4856353"/>
              <a:gd name="connsiteX752" fmla="*/ 4216347 w 5860123"/>
              <a:gd name="connsiteY752" fmla="*/ 4272356 h 4856353"/>
              <a:gd name="connsiteX753" fmla="*/ 4204916 w 5860123"/>
              <a:gd name="connsiteY753" fmla="*/ 4259973 h 4856353"/>
              <a:gd name="connsiteX754" fmla="*/ 4187771 w 5860123"/>
              <a:gd name="connsiteY754" fmla="*/ 4257116 h 4856353"/>
              <a:gd name="connsiteX755" fmla="*/ 4189676 w 5860123"/>
              <a:gd name="connsiteY755" fmla="*/ 4272356 h 4856353"/>
              <a:gd name="connsiteX756" fmla="*/ 4194439 w 5860123"/>
              <a:gd name="connsiteY756" fmla="*/ 4290453 h 4856353"/>
              <a:gd name="connsiteX757" fmla="*/ 4169674 w 5860123"/>
              <a:gd name="connsiteY757" fmla="*/ 4292358 h 4856353"/>
              <a:gd name="connsiteX758" fmla="*/ 4156339 w 5860123"/>
              <a:gd name="connsiteY758" fmla="*/ 4289501 h 4856353"/>
              <a:gd name="connsiteX759" fmla="*/ 4140146 w 5860123"/>
              <a:gd name="connsiteY759" fmla="*/ 4280928 h 4856353"/>
              <a:gd name="connsiteX760" fmla="*/ 4123954 w 5860123"/>
              <a:gd name="connsiteY760" fmla="*/ 4248543 h 4856353"/>
              <a:gd name="connsiteX761" fmla="*/ 4109666 w 5860123"/>
              <a:gd name="connsiteY761" fmla="*/ 4236161 h 4856353"/>
              <a:gd name="connsiteX762" fmla="*/ 4100141 w 5860123"/>
              <a:gd name="connsiteY762" fmla="*/ 4219016 h 4856353"/>
              <a:gd name="connsiteX763" fmla="*/ 4088711 w 5860123"/>
              <a:gd name="connsiteY763" fmla="*/ 4218063 h 4856353"/>
              <a:gd name="connsiteX764" fmla="*/ 4094426 w 5860123"/>
              <a:gd name="connsiteY764" fmla="*/ 4238066 h 4856353"/>
              <a:gd name="connsiteX765" fmla="*/ 4099189 w 5860123"/>
              <a:gd name="connsiteY765" fmla="*/ 4267593 h 4856353"/>
              <a:gd name="connsiteX766" fmla="*/ 4102046 w 5860123"/>
              <a:gd name="connsiteY766" fmla="*/ 4292358 h 4856353"/>
              <a:gd name="connsiteX767" fmla="*/ 4101094 w 5860123"/>
              <a:gd name="connsiteY767" fmla="*/ 4313313 h 4856353"/>
              <a:gd name="connsiteX768" fmla="*/ 4082044 w 5860123"/>
              <a:gd name="connsiteY768" fmla="*/ 4314266 h 4856353"/>
              <a:gd name="connsiteX769" fmla="*/ 4074424 w 5860123"/>
              <a:gd name="connsiteY769" fmla="*/ 4319028 h 4856353"/>
              <a:gd name="connsiteX770" fmla="*/ 4067756 w 5860123"/>
              <a:gd name="connsiteY770" fmla="*/ 4333316 h 4856353"/>
              <a:gd name="connsiteX771" fmla="*/ 4048706 w 5860123"/>
              <a:gd name="connsiteY771" fmla="*/ 4335221 h 4856353"/>
              <a:gd name="connsiteX772" fmla="*/ 4043944 w 5860123"/>
              <a:gd name="connsiteY772" fmla="*/ 4306646 h 4856353"/>
              <a:gd name="connsiteX773" fmla="*/ 4036324 w 5860123"/>
              <a:gd name="connsiteY773" fmla="*/ 4308551 h 4856353"/>
              <a:gd name="connsiteX774" fmla="*/ 4033466 w 5860123"/>
              <a:gd name="connsiteY774" fmla="*/ 4325696 h 4856353"/>
              <a:gd name="connsiteX775" fmla="*/ 4031561 w 5860123"/>
              <a:gd name="connsiteY775" fmla="*/ 4340936 h 4856353"/>
              <a:gd name="connsiteX776" fmla="*/ 4030609 w 5860123"/>
              <a:gd name="connsiteY776" fmla="*/ 4354271 h 4856353"/>
              <a:gd name="connsiteX777" fmla="*/ 4016321 w 5860123"/>
              <a:gd name="connsiteY777" fmla="*/ 4357128 h 4856353"/>
              <a:gd name="connsiteX778" fmla="*/ 3999176 w 5860123"/>
              <a:gd name="connsiteY778" fmla="*/ 4356176 h 4856353"/>
              <a:gd name="connsiteX779" fmla="*/ 3986794 w 5860123"/>
              <a:gd name="connsiteY779" fmla="*/ 4370463 h 4856353"/>
              <a:gd name="connsiteX780" fmla="*/ 3969649 w 5860123"/>
              <a:gd name="connsiteY780" fmla="*/ 4370463 h 4856353"/>
              <a:gd name="connsiteX781" fmla="*/ 3956314 w 5860123"/>
              <a:gd name="connsiteY781" fmla="*/ 4377131 h 4856353"/>
              <a:gd name="connsiteX782" fmla="*/ 3942026 w 5860123"/>
              <a:gd name="connsiteY782" fmla="*/ 4385703 h 4856353"/>
              <a:gd name="connsiteX783" fmla="*/ 3931549 w 5860123"/>
              <a:gd name="connsiteY783" fmla="*/ 4378083 h 4856353"/>
              <a:gd name="connsiteX784" fmla="*/ 3918214 w 5860123"/>
              <a:gd name="connsiteY784" fmla="*/ 4371416 h 4856353"/>
              <a:gd name="connsiteX785" fmla="*/ 3899164 w 5860123"/>
              <a:gd name="connsiteY785" fmla="*/ 4376178 h 4856353"/>
              <a:gd name="connsiteX786" fmla="*/ 3900116 w 5860123"/>
              <a:gd name="connsiteY786" fmla="*/ 4396181 h 4856353"/>
              <a:gd name="connsiteX787" fmla="*/ 3887734 w 5860123"/>
              <a:gd name="connsiteY787" fmla="*/ 4406658 h 4856353"/>
              <a:gd name="connsiteX788" fmla="*/ 3882019 w 5860123"/>
              <a:gd name="connsiteY788" fmla="*/ 4387608 h 4856353"/>
              <a:gd name="connsiteX789" fmla="*/ 3868684 w 5860123"/>
              <a:gd name="connsiteY789" fmla="*/ 4377131 h 4856353"/>
              <a:gd name="connsiteX790" fmla="*/ 3872494 w 5860123"/>
              <a:gd name="connsiteY790" fmla="*/ 4387608 h 4856353"/>
              <a:gd name="connsiteX791" fmla="*/ 3863921 w 5860123"/>
              <a:gd name="connsiteY791" fmla="*/ 4405706 h 4856353"/>
              <a:gd name="connsiteX792" fmla="*/ 3839156 w 5860123"/>
              <a:gd name="connsiteY792" fmla="*/ 4411421 h 4856353"/>
              <a:gd name="connsiteX793" fmla="*/ 3806771 w 5860123"/>
              <a:gd name="connsiteY793" fmla="*/ 4416183 h 4856353"/>
              <a:gd name="connsiteX794" fmla="*/ 3753431 w 5860123"/>
              <a:gd name="connsiteY794" fmla="*/ 4430471 h 4856353"/>
              <a:gd name="connsiteX795" fmla="*/ 3730571 w 5860123"/>
              <a:gd name="connsiteY795" fmla="*/ 4461903 h 4856353"/>
              <a:gd name="connsiteX796" fmla="*/ 3717236 w 5860123"/>
              <a:gd name="connsiteY796" fmla="*/ 4465713 h 4856353"/>
              <a:gd name="connsiteX797" fmla="*/ 3711521 w 5860123"/>
              <a:gd name="connsiteY797" fmla="*/ 4447616 h 4856353"/>
              <a:gd name="connsiteX798" fmla="*/ 3700091 w 5860123"/>
              <a:gd name="connsiteY798" fmla="*/ 4430471 h 4856353"/>
              <a:gd name="connsiteX799" fmla="*/ 3701044 w 5860123"/>
              <a:gd name="connsiteY799" fmla="*/ 4451426 h 4856353"/>
              <a:gd name="connsiteX800" fmla="*/ 3689614 w 5860123"/>
              <a:gd name="connsiteY800" fmla="*/ 4468571 h 4856353"/>
              <a:gd name="connsiteX801" fmla="*/ 3674374 w 5860123"/>
              <a:gd name="connsiteY801" fmla="*/ 4480953 h 4856353"/>
              <a:gd name="connsiteX802" fmla="*/ 3673421 w 5860123"/>
              <a:gd name="connsiteY802" fmla="*/ 4500956 h 4856353"/>
              <a:gd name="connsiteX803" fmla="*/ 3691519 w 5860123"/>
              <a:gd name="connsiteY803" fmla="*/ 4507623 h 4856353"/>
              <a:gd name="connsiteX804" fmla="*/ 3701044 w 5860123"/>
              <a:gd name="connsiteY804" fmla="*/ 4523816 h 4856353"/>
              <a:gd name="connsiteX805" fmla="*/ 3712474 w 5860123"/>
              <a:gd name="connsiteY805" fmla="*/ 4541913 h 4856353"/>
              <a:gd name="connsiteX806" fmla="*/ 3712474 w 5860123"/>
              <a:gd name="connsiteY806" fmla="*/ 4566678 h 4856353"/>
              <a:gd name="connsiteX807" fmla="*/ 3689614 w 5860123"/>
              <a:gd name="connsiteY807" fmla="*/ 4581918 h 4856353"/>
              <a:gd name="connsiteX808" fmla="*/ 3663896 w 5860123"/>
              <a:gd name="connsiteY808" fmla="*/ 4580966 h 4856353"/>
              <a:gd name="connsiteX809" fmla="*/ 3643894 w 5860123"/>
              <a:gd name="connsiteY809" fmla="*/ 4581918 h 4856353"/>
              <a:gd name="connsiteX810" fmla="*/ 3643894 w 5860123"/>
              <a:gd name="connsiteY810" fmla="*/ 4571441 h 4856353"/>
              <a:gd name="connsiteX811" fmla="*/ 3650561 w 5860123"/>
              <a:gd name="connsiteY811" fmla="*/ 4560963 h 4856353"/>
              <a:gd name="connsiteX812" fmla="*/ 3637226 w 5860123"/>
              <a:gd name="connsiteY812" fmla="*/ 4551438 h 4856353"/>
              <a:gd name="connsiteX813" fmla="*/ 3621034 w 5860123"/>
              <a:gd name="connsiteY813" fmla="*/ 4534293 h 4856353"/>
              <a:gd name="connsiteX814" fmla="*/ 3608651 w 5860123"/>
              <a:gd name="connsiteY814" fmla="*/ 4501908 h 4856353"/>
              <a:gd name="connsiteX815" fmla="*/ 3617224 w 5860123"/>
              <a:gd name="connsiteY815" fmla="*/ 4467618 h 4856353"/>
              <a:gd name="connsiteX816" fmla="*/ 3619129 w 5860123"/>
              <a:gd name="connsiteY816" fmla="*/ 4440948 h 4856353"/>
              <a:gd name="connsiteX817" fmla="*/ 3633416 w 5860123"/>
              <a:gd name="connsiteY817" fmla="*/ 4436186 h 4856353"/>
              <a:gd name="connsiteX818" fmla="*/ 3641036 w 5860123"/>
              <a:gd name="connsiteY818" fmla="*/ 4426661 h 4856353"/>
              <a:gd name="connsiteX819" fmla="*/ 3626749 w 5860123"/>
              <a:gd name="connsiteY819" fmla="*/ 4421898 h 4856353"/>
              <a:gd name="connsiteX820" fmla="*/ 3607699 w 5860123"/>
              <a:gd name="connsiteY820" fmla="*/ 4414278 h 4856353"/>
              <a:gd name="connsiteX821" fmla="*/ 3599126 w 5860123"/>
              <a:gd name="connsiteY821" fmla="*/ 4391418 h 4856353"/>
              <a:gd name="connsiteX822" fmla="*/ 3589601 w 5860123"/>
              <a:gd name="connsiteY822" fmla="*/ 4385703 h 4856353"/>
              <a:gd name="connsiteX823" fmla="*/ 3590554 w 5860123"/>
              <a:gd name="connsiteY823" fmla="*/ 4401896 h 4856353"/>
              <a:gd name="connsiteX824" fmla="*/ 3587696 w 5860123"/>
              <a:gd name="connsiteY824" fmla="*/ 4419041 h 4856353"/>
              <a:gd name="connsiteX825" fmla="*/ 3568646 w 5860123"/>
              <a:gd name="connsiteY825" fmla="*/ 4425708 h 4856353"/>
              <a:gd name="connsiteX826" fmla="*/ 3537214 w 5860123"/>
              <a:gd name="connsiteY826" fmla="*/ 4426661 h 4856353"/>
              <a:gd name="connsiteX827" fmla="*/ 3539119 w 5860123"/>
              <a:gd name="connsiteY827" fmla="*/ 4412373 h 4856353"/>
              <a:gd name="connsiteX828" fmla="*/ 3521021 w 5860123"/>
              <a:gd name="connsiteY828" fmla="*/ 4401896 h 4856353"/>
              <a:gd name="connsiteX829" fmla="*/ 3509591 w 5860123"/>
              <a:gd name="connsiteY829" fmla="*/ 4384751 h 4856353"/>
              <a:gd name="connsiteX830" fmla="*/ 3503876 w 5860123"/>
              <a:gd name="connsiteY830" fmla="*/ 4374273 h 4856353"/>
              <a:gd name="connsiteX831" fmla="*/ 3498161 w 5860123"/>
              <a:gd name="connsiteY831" fmla="*/ 4389513 h 4856353"/>
              <a:gd name="connsiteX832" fmla="*/ 3483874 w 5860123"/>
              <a:gd name="connsiteY832" fmla="*/ 4393323 h 4856353"/>
              <a:gd name="connsiteX833" fmla="*/ 3472444 w 5860123"/>
              <a:gd name="connsiteY833" fmla="*/ 4370463 h 4856353"/>
              <a:gd name="connsiteX834" fmla="*/ 3461014 w 5860123"/>
              <a:gd name="connsiteY834" fmla="*/ 4362843 h 4856353"/>
              <a:gd name="connsiteX835" fmla="*/ 3462919 w 5860123"/>
              <a:gd name="connsiteY835" fmla="*/ 4380941 h 4856353"/>
              <a:gd name="connsiteX836" fmla="*/ 3460061 w 5860123"/>
              <a:gd name="connsiteY836" fmla="*/ 4405706 h 4856353"/>
              <a:gd name="connsiteX837" fmla="*/ 3453394 w 5860123"/>
              <a:gd name="connsiteY837" fmla="*/ 4399038 h 4856353"/>
              <a:gd name="connsiteX838" fmla="*/ 3447679 w 5860123"/>
              <a:gd name="connsiteY838" fmla="*/ 4389513 h 4856353"/>
              <a:gd name="connsiteX839" fmla="*/ 3435296 w 5860123"/>
              <a:gd name="connsiteY839" fmla="*/ 4404753 h 4856353"/>
              <a:gd name="connsiteX840" fmla="*/ 3428629 w 5860123"/>
              <a:gd name="connsiteY840" fmla="*/ 4400943 h 4856353"/>
              <a:gd name="connsiteX841" fmla="*/ 3420056 w 5860123"/>
              <a:gd name="connsiteY841" fmla="*/ 4400943 h 4856353"/>
              <a:gd name="connsiteX842" fmla="*/ 3407674 w 5860123"/>
              <a:gd name="connsiteY842" fmla="*/ 4407611 h 4856353"/>
              <a:gd name="connsiteX843" fmla="*/ 3401006 w 5860123"/>
              <a:gd name="connsiteY843" fmla="*/ 4405706 h 4856353"/>
              <a:gd name="connsiteX844" fmla="*/ 3394339 w 5860123"/>
              <a:gd name="connsiteY844" fmla="*/ 4403801 h 4856353"/>
              <a:gd name="connsiteX845" fmla="*/ 3388624 w 5860123"/>
              <a:gd name="connsiteY845" fmla="*/ 4399991 h 4856353"/>
              <a:gd name="connsiteX846" fmla="*/ 3379099 w 5860123"/>
              <a:gd name="connsiteY846" fmla="*/ 4391418 h 4856353"/>
              <a:gd name="connsiteX847" fmla="*/ 3362906 w 5860123"/>
              <a:gd name="connsiteY847" fmla="*/ 4390466 h 4856353"/>
              <a:gd name="connsiteX848" fmla="*/ 3354334 w 5860123"/>
              <a:gd name="connsiteY848" fmla="*/ 4395228 h 4856353"/>
              <a:gd name="connsiteX849" fmla="*/ 3344809 w 5860123"/>
              <a:gd name="connsiteY849" fmla="*/ 4397133 h 4856353"/>
              <a:gd name="connsiteX850" fmla="*/ 3338141 w 5860123"/>
              <a:gd name="connsiteY850" fmla="*/ 4397133 h 4856353"/>
              <a:gd name="connsiteX851" fmla="*/ 3331474 w 5860123"/>
              <a:gd name="connsiteY851" fmla="*/ 4393323 h 4856353"/>
              <a:gd name="connsiteX852" fmla="*/ 3320044 w 5860123"/>
              <a:gd name="connsiteY852" fmla="*/ 4392371 h 4856353"/>
              <a:gd name="connsiteX853" fmla="*/ 3312424 w 5860123"/>
              <a:gd name="connsiteY853" fmla="*/ 4384751 h 4856353"/>
              <a:gd name="connsiteX854" fmla="*/ 3307661 w 5860123"/>
              <a:gd name="connsiteY854" fmla="*/ 4378083 h 4856353"/>
              <a:gd name="connsiteX855" fmla="*/ 3302899 w 5860123"/>
              <a:gd name="connsiteY855" fmla="*/ 4379988 h 4856353"/>
              <a:gd name="connsiteX856" fmla="*/ 3295279 w 5860123"/>
              <a:gd name="connsiteY856" fmla="*/ 4381893 h 4856353"/>
              <a:gd name="connsiteX857" fmla="*/ 3290516 w 5860123"/>
              <a:gd name="connsiteY857" fmla="*/ 4377131 h 4856353"/>
              <a:gd name="connsiteX858" fmla="*/ 3284801 w 5860123"/>
              <a:gd name="connsiteY858" fmla="*/ 4372368 h 4856353"/>
              <a:gd name="connsiteX859" fmla="*/ 3282896 w 5860123"/>
              <a:gd name="connsiteY859" fmla="*/ 4370463 h 4856353"/>
              <a:gd name="connsiteX860" fmla="*/ 3280991 w 5860123"/>
              <a:gd name="connsiteY860" fmla="*/ 4369511 h 4856353"/>
              <a:gd name="connsiteX861" fmla="*/ 3278134 w 5860123"/>
              <a:gd name="connsiteY861" fmla="*/ 4368558 h 4856353"/>
              <a:gd name="connsiteX862" fmla="*/ 3273371 w 5860123"/>
              <a:gd name="connsiteY862" fmla="*/ 4365701 h 4856353"/>
              <a:gd name="connsiteX863" fmla="*/ 3275276 w 5860123"/>
              <a:gd name="connsiteY863" fmla="*/ 4360938 h 4856353"/>
              <a:gd name="connsiteX864" fmla="*/ 3277181 w 5860123"/>
              <a:gd name="connsiteY864" fmla="*/ 4358081 h 4856353"/>
              <a:gd name="connsiteX865" fmla="*/ 3273371 w 5860123"/>
              <a:gd name="connsiteY865" fmla="*/ 4353318 h 4856353"/>
              <a:gd name="connsiteX866" fmla="*/ 3267656 w 5860123"/>
              <a:gd name="connsiteY866" fmla="*/ 4353318 h 4856353"/>
              <a:gd name="connsiteX867" fmla="*/ 3261941 w 5860123"/>
              <a:gd name="connsiteY867" fmla="*/ 4352366 h 4856353"/>
              <a:gd name="connsiteX868" fmla="*/ 3259084 w 5860123"/>
              <a:gd name="connsiteY868" fmla="*/ 4348556 h 4856353"/>
              <a:gd name="connsiteX869" fmla="*/ 3251464 w 5860123"/>
              <a:gd name="connsiteY869" fmla="*/ 4346651 h 4856353"/>
              <a:gd name="connsiteX870" fmla="*/ 3246701 w 5860123"/>
              <a:gd name="connsiteY870" fmla="*/ 4346651 h 4856353"/>
              <a:gd name="connsiteX871" fmla="*/ 3240986 w 5860123"/>
              <a:gd name="connsiteY871" fmla="*/ 4346651 h 4856353"/>
              <a:gd name="connsiteX872" fmla="*/ 3237176 w 5860123"/>
              <a:gd name="connsiteY872" fmla="*/ 4348556 h 4856353"/>
              <a:gd name="connsiteX873" fmla="*/ 3236224 w 5860123"/>
              <a:gd name="connsiteY873" fmla="*/ 4341888 h 4856353"/>
              <a:gd name="connsiteX874" fmla="*/ 3236224 w 5860123"/>
              <a:gd name="connsiteY874" fmla="*/ 4315218 h 4856353"/>
              <a:gd name="connsiteX875" fmla="*/ 3236224 w 5860123"/>
              <a:gd name="connsiteY875" fmla="*/ 4303788 h 4856353"/>
              <a:gd name="connsiteX876" fmla="*/ 3227651 w 5860123"/>
              <a:gd name="connsiteY876" fmla="*/ 4299026 h 4856353"/>
              <a:gd name="connsiteX877" fmla="*/ 3222889 w 5860123"/>
              <a:gd name="connsiteY877" fmla="*/ 4295216 h 4856353"/>
              <a:gd name="connsiteX878" fmla="*/ 3220984 w 5860123"/>
              <a:gd name="connsiteY878" fmla="*/ 4290453 h 4856353"/>
              <a:gd name="connsiteX879" fmla="*/ 3221936 w 5860123"/>
              <a:gd name="connsiteY879" fmla="*/ 4282833 h 4856353"/>
              <a:gd name="connsiteX880" fmla="*/ 3223841 w 5860123"/>
              <a:gd name="connsiteY880" fmla="*/ 4276166 h 4856353"/>
              <a:gd name="connsiteX881" fmla="*/ 3225746 w 5860123"/>
              <a:gd name="connsiteY881" fmla="*/ 4272356 h 4856353"/>
              <a:gd name="connsiteX882" fmla="*/ 3229556 w 5860123"/>
              <a:gd name="connsiteY882" fmla="*/ 4265688 h 4856353"/>
              <a:gd name="connsiteX883" fmla="*/ 3235271 w 5860123"/>
              <a:gd name="connsiteY883" fmla="*/ 4265688 h 4856353"/>
              <a:gd name="connsiteX884" fmla="*/ 3244796 w 5860123"/>
              <a:gd name="connsiteY884" fmla="*/ 4252353 h 4856353"/>
              <a:gd name="connsiteX885" fmla="*/ 3251464 w 5860123"/>
              <a:gd name="connsiteY885" fmla="*/ 4242828 h 4856353"/>
              <a:gd name="connsiteX886" fmla="*/ 3250511 w 5860123"/>
              <a:gd name="connsiteY886" fmla="*/ 4237113 h 4856353"/>
              <a:gd name="connsiteX887" fmla="*/ 3233366 w 5860123"/>
              <a:gd name="connsiteY887" fmla="*/ 4228541 h 4856353"/>
              <a:gd name="connsiteX888" fmla="*/ 3222889 w 5860123"/>
              <a:gd name="connsiteY888" fmla="*/ 4218063 h 4856353"/>
              <a:gd name="connsiteX889" fmla="*/ 3216221 w 5860123"/>
              <a:gd name="connsiteY889" fmla="*/ 4220921 h 4856353"/>
              <a:gd name="connsiteX890" fmla="*/ 3200029 w 5860123"/>
              <a:gd name="connsiteY890" fmla="*/ 4227588 h 4856353"/>
              <a:gd name="connsiteX891" fmla="*/ 3187646 w 5860123"/>
              <a:gd name="connsiteY891" fmla="*/ 4222826 h 4856353"/>
              <a:gd name="connsiteX892" fmla="*/ 3181931 w 5860123"/>
              <a:gd name="connsiteY892" fmla="*/ 4213301 h 4856353"/>
              <a:gd name="connsiteX893" fmla="*/ 3163834 w 5860123"/>
              <a:gd name="connsiteY893" fmla="*/ 4209491 h 4856353"/>
              <a:gd name="connsiteX894" fmla="*/ 3156214 w 5860123"/>
              <a:gd name="connsiteY894" fmla="*/ 4213301 h 4856353"/>
              <a:gd name="connsiteX895" fmla="*/ 3146689 w 5860123"/>
              <a:gd name="connsiteY895" fmla="*/ 4216158 h 4856353"/>
              <a:gd name="connsiteX896" fmla="*/ 3140021 w 5860123"/>
              <a:gd name="connsiteY896" fmla="*/ 4215206 h 4856353"/>
              <a:gd name="connsiteX897" fmla="*/ 3132401 w 5860123"/>
              <a:gd name="connsiteY897" fmla="*/ 4208538 h 4856353"/>
              <a:gd name="connsiteX898" fmla="*/ 3124781 w 5860123"/>
              <a:gd name="connsiteY898" fmla="*/ 4201871 h 4856353"/>
              <a:gd name="connsiteX899" fmla="*/ 3108589 w 5860123"/>
              <a:gd name="connsiteY899" fmla="*/ 4197108 h 4856353"/>
              <a:gd name="connsiteX900" fmla="*/ 3103826 w 5860123"/>
              <a:gd name="connsiteY900" fmla="*/ 4187583 h 4856353"/>
              <a:gd name="connsiteX901" fmla="*/ 3097159 w 5860123"/>
              <a:gd name="connsiteY901" fmla="*/ 4179011 h 4856353"/>
              <a:gd name="connsiteX902" fmla="*/ 3095254 w 5860123"/>
              <a:gd name="connsiteY902" fmla="*/ 4177106 h 4856353"/>
              <a:gd name="connsiteX903" fmla="*/ 3090491 w 5860123"/>
              <a:gd name="connsiteY903" fmla="*/ 4172343 h 4856353"/>
              <a:gd name="connsiteX904" fmla="*/ 3087634 w 5860123"/>
              <a:gd name="connsiteY904" fmla="*/ 4165675 h 4856353"/>
              <a:gd name="connsiteX905" fmla="*/ 3081919 w 5860123"/>
              <a:gd name="connsiteY905" fmla="*/ 4164723 h 4856353"/>
              <a:gd name="connsiteX906" fmla="*/ 3076204 w 5860123"/>
              <a:gd name="connsiteY906" fmla="*/ 4158056 h 4856353"/>
              <a:gd name="connsiteX907" fmla="*/ 3069536 w 5860123"/>
              <a:gd name="connsiteY907" fmla="*/ 4156150 h 4856353"/>
              <a:gd name="connsiteX908" fmla="*/ 3064774 w 5860123"/>
              <a:gd name="connsiteY908" fmla="*/ 4162818 h 4856353"/>
              <a:gd name="connsiteX909" fmla="*/ 3060011 w 5860123"/>
              <a:gd name="connsiteY909" fmla="*/ 4167581 h 4856353"/>
              <a:gd name="connsiteX910" fmla="*/ 3053344 w 5860123"/>
              <a:gd name="connsiteY910" fmla="*/ 4165675 h 4856353"/>
              <a:gd name="connsiteX911" fmla="*/ 3046676 w 5860123"/>
              <a:gd name="connsiteY911" fmla="*/ 4166628 h 4856353"/>
              <a:gd name="connsiteX912" fmla="*/ 3043819 w 5860123"/>
              <a:gd name="connsiteY912" fmla="*/ 4167581 h 4856353"/>
              <a:gd name="connsiteX913" fmla="*/ 3034294 w 5860123"/>
              <a:gd name="connsiteY913" fmla="*/ 4172343 h 4856353"/>
              <a:gd name="connsiteX914" fmla="*/ 3032389 w 5860123"/>
              <a:gd name="connsiteY914" fmla="*/ 4174248 h 4856353"/>
              <a:gd name="connsiteX915" fmla="*/ 3023816 w 5860123"/>
              <a:gd name="connsiteY915" fmla="*/ 4179963 h 4856353"/>
              <a:gd name="connsiteX916" fmla="*/ 3016196 w 5860123"/>
              <a:gd name="connsiteY916" fmla="*/ 4181868 h 4856353"/>
              <a:gd name="connsiteX917" fmla="*/ 3008576 w 5860123"/>
              <a:gd name="connsiteY917" fmla="*/ 4188536 h 4856353"/>
              <a:gd name="connsiteX918" fmla="*/ 3010481 w 5860123"/>
              <a:gd name="connsiteY918" fmla="*/ 4198061 h 4856353"/>
              <a:gd name="connsiteX919" fmla="*/ 3012386 w 5860123"/>
              <a:gd name="connsiteY919" fmla="*/ 4200918 h 4856353"/>
              <a:gd name="connsiteX920" fmla="*/ 3011434 w 5860123"/>
              <a:gd name="connsiteY920" fmla="*/ 4209491 h 4856353"/>
              <a:gd name="connsiteX921" fmla="*/ 3000004 w 5860123"/>
              <a:gd name="connsiteY921" fmla="*/ 4215206 h 4856353"/>
              <a:gd name="connsiteX922" fmla="*/ 2998099 w 5860123"/>
              <a:gd name="connsiteY922" fmla="*/ 4217111 h 4856353"/>
              <a:gd name="connsiteX923" fmla="*/ 2991431 w 5860123"/>
              <a:gd name="connsiteY923" fmla="*/ 4220921 h 4856353"/>
              <a:gd name="connsiteX924" fmla="*/ 2984764 w 5860123"/>
              <a:gd name="connsiteY924" fmla="*/ 4219968 h 4856353"/>
              <a:gd name="connsiteX925" fmla="*/ 2980954 w 5860123"/>
              <a:gd name="connsiteY925" fmla="*/ 4219016 h 4856353"/>
              <a:gd name="connsiteX926" fmla="*/ 2971429 w 5860123"/>
              <a:gd name="connsiteY926" fmla="*/ 4221873 h 4856353"/>
              <a:gd name="connsiteX927" fmla="*/ 2961904 w 5860123"/>
              <a:gd name="connsiteY927" fmla="*/ 4227588 h 4856353"/>
              <a:gd name="connsiteX928" fmla="*/ 2952379 w 5860123"/>
              <a:gd name="connsiteY928" fmla="*/ 4235208 h 4856353"/>
              <a:gd name="connsiteX929" fmla="*/ 2945711 w 5860123"/>
              <a:gd name="connsiteY929" fmla="*/ 4234256 h 4856353"/>
              <a:gd name="connsiteX930" fmla="*/ 2938091 w 5860123"/>
              <a:gd name="connsiteY930" fmla="*/ 4228541 h 4856353"/>
              <a:gd name="connsiteX931" fmla="*/ 2938091 w 5860123"/>
              <a:gd name="connsiteY931" fmla="*/ 4222826 h 4856353"/>
              <a:gd name="connsiteX932" fmla="*/ 2939996 w 5860123"/>
              <a:gd name="connsiteY932" fmla="*/ 4215206 h 4856353"/>
              <a:gd name="connsiteX933" fmla="*/ 2929519 w 5860123"/>
              <a:gd name="connsiteY933" fmla="*/ 4218063 h 4856353"/>
              <a:gd name="connsiteX934" fmla="*/ 2919041 w 5860123"/>
              <a:gd name="connsiteY934" fmla="*/ 4220921 h 4856353"/>
              <a:gd name="connsiteX935" fmla="*/ 2916184 w 5860123"/>
              <a:gd name="connsiteY935" fmla="*/ 4222826 h 4856353"/>
              <a:gd name="connsiteX936" fmla="*/ 2907611 w 5860123"/>
              <a:gd name="connsiteY936" fmla="*/ 4242828 h 4856353"/>
              <a:gd name="connsiteX937" fmla="*/ 2905706 w 5860123"/>
              <a:gd name="connsiteY937" fmla="*/ 4255211 h 4856353"/>
              <a:gd name="connsiteX938" fmla="*/ 2905706 w 5860123"/>
              <a:gd name="connsiteY938" fmla="*/ 4259973 h 4856353"/>
              <a:gd name="connsiteX939" fmla="*/ 2902849 w 5860123"/>
              <a:gd name="connsiteY939" fmla="*/ 4261878 h 4856353"/>
              <a:gd name="connsiteX940" fmla="*/ 2901896 w 5860123"/>
              <a:gd name="connsiteY940" fmla="*/ 4261878 h 4856353"/>
              <a:gd name="connsiteX941" fmla="*/ 2894276 w 5860123"/>
              <a:gd name="connsiteY941" fmla="*/ 4253306 h 4856353"/>
              <a:gd name="connsiteX942" fmla="*/ 2875226 w 5860123"/>
              <a:gd name="connsiteY942" fmla="*/ 4234256 h 4856353"/>
              <a:gd name="connsiteX943" fmla="*/ 2866654 w 5860123"/>
              <a:gd name="connsiteY943" fmla="*/ 4224731 h 4856353"/>
              <a:gd name="connsiteX944" fmla="*/ 2859034 w 5860123"/>
              <a:gd name="connsiteY944" fmla="*/ 4219016 h 4856353"/>
              <a:gd name="connsiteX945" fmla="*/ 2845699 w 5860123"/>
              <a:gd name="connsiteY945" fmla="*/ 4242828 h 4856353"/>
              <a:gd name="connsiteX946" fmla="*/ 2834269 w 5860123"/>
              <a:gd name="connsiteY946" fmla="*/ 4230446 h 4856353"/>
              <a:gd name="connsiteX947" fmla="*/ 2824744 w 5860123"/>
              <a:gd name="connsiteY947" fmla="*/ 4216158 h 4856353"/>
              <a:gd name="connsiteX948" fmla="*/ 2816171 w 5860123"/>
              <a:gd name="connsiteY948" fmla="*/ 4222826 h 4856353"/>
              <a:gd name="connsiteX949" fmla="*/ 2815219 w 5860123"/>
              <a:gd name="connsiteY949" fmla="*/ 4224731 h 4856353"/>
              <a:gd name="connsiteX950" fmla="*/ 2813314 w 5860123"/>
              <a:gd name="connsiteY950" fmla="*/ 4228541 h 4856353"/>
              <a:gd name="connsiteX951" fmla="*/ 2805694 w 5860123"/>
              <a:gd name="connsiteY951" fmla="*/ 4235208 h 4856353"/>
              <a:gd name="connsiteX952" fmla="*/ 2799026 w 5860123"/>
              <a:gd name="connsiteY952" fmla="*/ 4244733 h 4856353"/>
              <a:gd name="connsiteX953" fmla="*/ 2793311 w 5860123"/>
              <a:gd name="connsiteY953" fmla="*/ 4251401 h 4856353"/>
              <a:gd name="connsiteX954" fmla="*/ 2786644 w 5860123"/>
              <a:gd name="connsiteY954" fmla="*/ 4256163 h 4856353"/>
              <a:gd name="connsiteX955" fmla="*/ 2779024 w 5860123"/>
              <a:gd name="connsiteY955" fmla="*/ 4259021 h 4856353"/>
              <a:gd name="connsiteX956" fmla="*/ 2771404 w 5860123"/>
              <a:gd name="connsiteY956" fmla="*/ 4253306 h 4856353"/>
              <a:gd name="connsiteX957" fmla="*/ 2763784 w 5860123"/>
              <a:gd name="connsiteY957" fmla="*/ 4244733 h 4856353"/>
              <a:gd name="connsiteX958" fmla="*/ 2758069 w 5860123"/>
              <a:gd name="connsiteY958" fmla="*/ 4236161 h 4856353"/>
              <a:gd name="connsiteX959" fmla="*/ 2742829 w 5860123"/>
              <a:gd name="connsiteY959" fmla="*/ 4224731 h 4856353"/>
              <a:gd name="connsiteX960" fmla="*/ 2730446 w 5860123"/>
              <a:gd name="connsiteY960" fmla="*/ 4219968 h 4856353"/>
              <a:gd name="connsiteX961" fmla="*/ 2722826 w 5860123"/>
              <a:gd name="connsiteY961" fmla="*/ 4216158 h 4856353"/>
              <a:gd name="connsiteX962" fmla="*/ 2718064 w 5860123"/>
              <a:gd name="connsiteY962" fmla="*/ 4212348 h 4856353"/>
              <a:gd name="connsiteX963" fmla="*/ 2713301 w 5860123"/>
              <a:gd name="connsiteY963" fmla="*/ 4217111 h 4856353"/>
              <a:gd name="connsiteX964" fmla="*/ 2707586 w 5860123"/>
              <a:gd name="connsiteY964" fmla="*/ 4221873 h 4856353"/>
              <a:gd name="connsiteX965" fmla="*/ 2703776 w 5860123"/>
              <a:gd name="connsiteY965" fmla="*/ 4226636 h 4856353"/>
              <a:gd name="connsiteX966" fmla="*/ 2702824 w 5860123"/>
              <a:gd name="connsiteY966" fmla="*/ 4231398 h 4856353"/>
              <a:gd name="connsiteX967" fmla="*/ 2690441 w 5860123"/>
              <a:gd name="connsiteY967" fmla="*/ 4240923 h 4856353"/>
              <a:gd name="connsiteX968" fmla="*/ 2685679 w 5860123"/>
              <a:gd name="connsiteY968" fmla="*/ 4249496 h 4856353"/>
              <a:gd name="connsiteX969" fmla="*/ 2677106 w 5860123"/>
              <a:gd name="connsiteY969" fmla="*/ 4253306 h 4856353"/>
              <a:gd name="connsiteX970" fmla="*/ 2667581 w 5860123"/>
              <a:gd name="connsiteY970" fmla="*/ 4252353 h 4856353"/>
              <a:gd name="connsiteX971" fmla="*/ 2657104 w 5860123"/>
              <a:gd name="connsiteY971" fmla="*/ 4249496 h 4856353"/>
              <a:gd name="connsiteX972" fmla="*/ 2640911 w 5860123"/>
              <a:gd name="connsiteY972" fmla="*/ 4253306 h 4856353"/>
              <a:gd name="connsiteX973" fmla="*/ 2633291 w 5860123"/>
              <a:gd name="connsiteY973" fmla="*/ 4254258 h 4856353"/>
              <a:gd name="connsiteX974" fmla="*/ 2628529 w 5860123"/>
              <a:gd name="connsiteY974" fmla="*/ 4244733 h 4856353"/>
              <a:gd name="connsiteX975" fmla="*/ 2617099 w 5860123"/>
              <a:gd name="connsiteY975" fmla="*/ 4240923 h 4856353"/>
              <a:gd name="connsiteX976" fmla="*/ 2612336 w 5860123"/>
              <a:gd name="connsiteY976" fmla="*/ 4244733 h 4856353"/>
              <a:gd name="connsiteX977" fmla="*/ 2610431 w 5860123"/>
              <a:gd name="connsiteY977" fmla="*/ 4251401 h 4856353"/>
              <a:gd name="connsiteX978" fmla="*/ 2607574 w 5860123"/>
              <a:gd name="connsiteY978" fmla="*/ 4262831 h 4856353"/>
              <a:gd name="connsiteX979" fmla="*/ 2599001 w 5860123"/>
              <a:gd name="connsiteY979" fmla="*/ 4267593 h 4856353"/>
              <a:gd name="connsiteX980" fmla="*/ 2597096 w 5860123"/>
              <a:gd name="connsiteY980" fmla="*/ 4275213 h 4856353"/>
              <a:gd name="connsiteX981" fmla="*/ 2599001 w 5860123"/>
              <a:gd name="connsiteY981" fmla="*/ 4286643 h 4856353"/>
              <a:gd name="connsiteX982" fmla="*/ 2599954 w 5860123"/>
              <a:gd name="connsiteY982" fmla="*/ 4294263 h 4856353"/>
              <a:gd name="connsiteX983" fmla="*/ 2601859 w 5860123"/>
              <a:gd name="connsiteY983" fmla="*/ 4304741 h 4856353"/>
              <a:gd name="connsiteX984" fmla="*/ 2604716 w 5860123"/>
              <a:gd name="connsiteY984" fmla="*/ 4312361 h 4856353"/>
              <a:gd name="connsiteX985" fmla="*/ 2606621 w 5860123"/>
              <a:gd name="connsiteY985" fmla="*/ 4314266 h 4856353"/>
              <a:gd name="connsiteX986" fmla="*/ 2615194 w 5860123"/>
              <a:gd name="connsiteY986" fmla="*/ 4325696 h 4856353"/>
              <a:gd name="connsiteX987" fmla="*/ 2616146 w 5860123"/>
              <a:gd name="connsiteY987" fmla="*/ 4345698 h 4856353"/>
              <a:gd name="connsiteX988" fmla="*/ 2620909 w 5860123"/>
              <a:gd name="connsiteY988" fmla="*/ 4355223 h 4856353"/>
              <a:gd name="connsiteX989" fmla="*/ 2615194 w 5860123"/>
              <a:gd name="connsiteY989" fmla="*/ 4360938 h 4856353"/>
              <a:gd name="connsiteX990" fmla="*/ 2612336 w 5860123"/>
              <a:gd name="connsiteY990" fmla="*/ 4366653 h 4856353"/>
              <a:gd name="connsiteX991" fmla="*/ 2612336 w 5860123"/>
              <a:gd name="connsiteY991" fmla="*/ 4372368 h 4856353"/>
              <a:gd name="connsiteX992" fmla="*/ 2610431 w 5860123"/>
              <a:gd name="connsiteY992" fmla="*/ 4381893 h 4856353"/>
              <a:gd name="connsiteX993" fmla="*/ 2609479 w 5860123"/>
              <a:gd name="connsiteY993" fmla="*/ 4396181 h 4856353"/>
              <a:gd name="connsiteX994" fmla="*/ 2619004 w 5860123"/>
              <a:gd name="connsiteY994" fmla="*/ 4401896 h 4856353"/>
              <a:gd name="connsiteX995" fmla="*/ 2619004 w 5860123"/>
              <a:gd name="connsiteY995" fmla="*/ 4410468 h 4856353"/>
              <a:gd name="connsiteX996" fmla="*/ 2614241 w 5860123"/>
              <a:gd name="connsiteY996" fmla="*/ 4415231 h 4856353"/>
              <a:gd name="connsiteX997" fmla="*/ 2608526 w 5860123"/>
              <a:gd name="connsiteY997" fmla="*/ 4419041 h 4856353"/>
              <a:gd name="connsiteX998" fmla="*/ 2588524 w 5860123"/>
              <a:gd name="connsiteY998" fmla="*/ 4408563 h 4856353"/>
              <a:gd name="connsiteX999" fmla="*/ 2574236 w 5860123"/>
              <a:gd name="connsiteY999" fmla="*/ 4404753 h 4856353"/>
              <a:gd name="connsiteX1000" fmla="*/ 2564711 w 5860123"/>
              <a:gd name="connsiteY1000" fmla="*/ 4405706 h 4856353"/>
              <a:gd name="connsiteX1001" fmla="*/ 2552329 w 5860123"/>
              <a:gd name="connsiteY1001" fmla="*/ 4408563 h 4856353"/>
              <a:gd name="connsiteX1002" fmla="*/ 2545661 w 5860123"/>
              <a:gd name="connsiteY1002" fmla="*/ 4397133 h 4856353"/>
              <a:gd name="connsiteX1003" fmla="*/ 2547566 w 5860123"/>
              <a:gd name="connsiteY1003" fmla="*/ 4390466 h 4856353"/>
              <a:gd name="connsiteX1004" fmla="*/ 2538994 w 5860123"/>
              <a:gd name="connsiteY1004" fmla="*/ 4384751 h 4856353"/>
              <a:gd name="connsiteX1005" fmla="*/ 2538994 w 5860123"/>
              <a:gd name="connsiteY1005" fmla="*/ 4376178 h 4856353"/>
              <a:gd name="connsiteX1006" fmla="*/ 2543756 w 5860123"/>
              <a:gd name="connsiteY1006" fmla="*/ 4371416 h 4856353"/>
              <a:gd name="connsiteX1007" fmla="*/ 2543756 w 5860123"/>
              <a:gd name="connsiteY1007" fmla="*/ 4363796 h 4856353"/>
              <a:gd name="connsiteX1008" fmla="*/ 2542804 w 5860123"/>
              <a:gd name="connsiteY1008" fmla="*/ 4357128 h 4856353"/>
              <a:gd name="connsiteX1009" fmla="*/ 2539946 w 5860123"/>
              <a:gd name="connsiteY1009" fmla="*/ 4352366 h 4856353"/>
              <a:gd name="connsiteX1010" fmla="*/ 2538041 w 5860123"/>
              <a:gd name="connsiteY1010" fmla="*/ 4332363 h 4856353"/>
              <a:gd name="connsiteX1011" fmla="*/ 2531374 w 5860123"/>
              <a:gd name="connsiteY1011" fmla="*/ 4331411 h 4856353"/>
              <a:gd name="connsiteX1012" fmla="*/ 2529469 w 5860123"/>
              <a:gd name="connsiteY1012" fmla="*/ 4332363 h 4856353"/>
              <a:gd name="connsiteX1013" fmla="*/ 2518039 w 5860123"/>
              <a:gd name="connsiteY1013" fmla="*/ 4336173 h 4856353"/>
              <a:gd name="connsiteX1014" fmla="*/ 2508514 w 5860123"/>
              <a:gd name="connsiteY1014" fmla="*/ 4338078 h 4856353"/>
              <a:gd name="connsiteX1015" fmla="*/ 2498989 w 5860123"/>
              <a:gd name="connsiteY1015" fmla="*/ 4342841 h 4856353"/>
              <a:gd name="connsiteX1016" fmla="*/ 2488511 w 5860123"/>
              <a:gd name="connsiteY1016" fmla="*/ 4354271 h 4856353"/>
              <a:gd name="connsiteX1017" fmla="*/ 2484701 w 5860123"/>
              <a:gd name="connsiteY1017" fmla="*/ 4356176 h 4856353"/>
              <a:gd name="connsiteX1018" fmla="*/ 2472319 w 5860123"/>
              <a:gd name="connsiteY1018" fmla="*/ 4363796 h 4856353"/>
              <a:gd name="connsiteX1019" fmla="*/ 2462794 w 5860123"/>
              <a:gd name="connsiteY1019" fmla="*/ 4364748 h 4856353"/>
              <a:gd name="connsiteX1020" fmla="*/ 2451364 w 5860123"/>
              <a:gd name="connsiteY1020" fmla="*/ 4359033 h 4856353"/>
              <a:gd name="connsiteX1021" fmla="*/ 2441839 w 5860123"/>
              <a:gd name="connsiteY1021" fmla="*/ 4350461 h 4856353"/>
              <a:gd name="connsiteX1022" fmla="*/ 2429456 w 5860123"/>
              <a:gd name="connsiteY1022" fmla="*/ 4354271 h 4856353"/>
              <a:gd name="connsiteX1023" fmla="*/ 2423741 w 5860123"/>
              <a:gd name="connsiteY1023" fmla="*/ 4357128 h 4856353"/>
              <a:gd name="connsiteX1024" fmla="*/ 2415169 w 5860123"/>
              <a:gd name="connsiteY1024" fmla="*/ 4354271 h 4856353"/>
              <a:gd name="connsiteX1025" fmla="*/ 2412311 w 5860123"/>
              <a:gd name="connsiteY1025" fmla="*/ 4338078 h 4856353"/>
              <a:gd name="connsiteX1026" fmla="*/ 2414216 w 5860123"/>
              <a:gd name="connsiteY1026" fmla="*/ 4330458 h 4856353"/>
              <a:gd name="connsiteX1027" fmla="*/ 2411359 w 5860123"/>
              <a:gd name="connsiteY1027" fmla="*/ 4327601 h 4856353"/>
              <a:gd name="connsiteX1028" fmla="*/ 2397071 w 5860123"/>
              <a:gd name="connsiteY1028" fmla="*/ 4332363 h 4856353"/>
              <a:gd name="connsiteX1029" fmla="*/ 2391356 w 5860123"/>
              <a:gd name="connsiteY1029" fmla="*/ 4319981 h 4856353"/>
              <a:gd name="connsiteX1030" fmla="*/ 2389451 w 5860123"/>
              <a:gd name="connsiteY1030" fmla="*/ 4300931 h 4856353"/>
              <a:gd name="connsiteX1031" fmla="*/ 2394214 w 5860123"/>
              <a:gd name="connsiteY1031" fmla="*/ 4292358 h 4856353"/>
              <a:gd name="connsiteX1032" fmla="*/ 2389451 w 5860123"/>
              <a:gd name="connsiteY1032" fmla="*/ 4278071 h 4856353"/>
              <a:gd name="connsiteX1033" fmla="*/ 2383736 w 5860123"/>
              <a:gd name="connsiteY1033" fmla="*/ 4279023 h 4856353"/>
              <a:gd name="connsiteX1034" fmla="*/ 2375164 w 5860123"/>
              <a:gd name="connsiteY1034" fmla="*/ 4276166 h 4856353"/>
              <a:gd name="connsiteX1035" fmla="*/ 2368496 w 5860123"/>
              <a:gd name="connsiteY1035" fmla="*/ 4273308 h 4856353"/>
              <a:gd name="connsiteX1036" fmla="*/ 2363734 w 5860123"/>
              <a:gd name="connsiteY1036" fmla="*/ 4276166 h 4856353"/>
              <a:gd name="connsiteX1037" fmla="*/ 2355161 w 5860123"/>
              <a:gd name="connsiteY1037" fmla="*/ 4268546 h 4856353"/>
              <a:gd name="connsiteX1038" fmla="*/ 2341826 w 5860123"/>
              <a:gd name="connsiteY1038" fmla="*/ 4263783 h 4856353"/>
              <a:gd name="connsiteX1039" fmla="*/ 2328491 w 5860123"/>
              <a:gd name="connsiteY1039" fmla="*/ 4263783 h 4856353"/>
              <a:gd name="connsiteX1040" fmla="*/ 2323729 w 5860123"/>
              <a:gd name="connsiteY1040" fmla="*/ 4263783 h 4856353"/>
              <a:gd name="connsiteX1041" fmla="*/ 2297059 w 5860123"/>
              <a:gd name="connsiteY1041" fmla="*/ 4258068 h 4856353"/>
              <a:gd name="connsiteX1042" fmla="*/ 2297059 w 5860123"/>
              <a:gd name="connsiteY1042" fmla="*/ 4249496 h 4856353"/>
              <a:gd name="connsiteX1043" fmla="*/ 2305631 w 5860123"/>
              <a:gd name="connsiteY1043" fmla="*/ 4242828 h 4856353"/>
              <a:gd name="connsiteX1044" fmla="*/ 2313251 w 5860123"/>
              <a:gd name="connsiteY1044" fmla="*/ 4224731 h 4856353"/>
              <a:gd name="connsiteX1045" fmla="*/ 2324681 w 5860123"/>
              <a:gd name="connsiteY1045" fmla="*/ 4212348 h 4856353"/>
              <a:gd name="connsiteX1046" fmla="*/ 2329444 w 5860123"/>
              <a:gd name="connsiteY1046" fmla="*/ 4198061 h 4856353"/>
              <a:gd name="connsiteX1047" fmla="*/ 2323729 w 5860123"/>
              <a:gd name="connsiteY1047" fmla="*/ 4182821 h 4856353"/>
              <a:gd name="connsiteX1048" fmla="*/ 2337064 w 5860123"/>
              <a:gd name="connsiteY1048" fmla="*/ 4168533 h 4856353"/>
              <a:gd name="connsiteX1049" fmla="*/ 2342779 w 5860123"/>
              <a:gd name="connsiteY1049" fmla="*/ 4156150 h 4856353"/>
              <a:gd name="connsiteX1050" fmla="*/ 2347541 w 5860123"/>
              <a:gd name="connsiteY1050" fmla="*/ 4156150 h 4856353"/>
              <a:gd name="connsiteX1051" fmla="*/ 2353256 w 5860123"/>
              <a:gd name="connsiteY1051" fmla="*/ 4147578 h 4856353"/>
              <a:gd name="connsiteX1052" fmla="*/ 2353256 w 5860123"/>
              <a:gd name="connsiteY1052" fmla="*/ 4137100 h 4856353"/>
              <a:gd name="connsiteX1053" fmla="*/ 2347541 w 5860123"/>
              <a:gd name="connsiteY1053" fmla="*/ 4132338 h 4856353"/>
              <a:gd name="connsiteX1054" fmla="*/ 2343731 w 5860123"/>
              <a:gd name="connsiteY1054" fmla="*/ 4131386 h 4856353"/>
              <a:gd name="connsiteX1055" fmla="*/ 2335159 w 5860123"/>
              <a:gd name="connsiteY1055" fmla="*/ 4128528 h 4856353"/>
              <a:gd name="connsiteX1056" fmla="*/ 2327539 w 5860123"/>
              <a:gd name="connsiteY1056" fmla="*/ 4128528 h 4856353"/>
              <a:gd name="connsiteX1057" fmla="*/ 2319919 w 5860123"/>
              <a:gd name="connsiteY1057" fmla="*/ 4129481 h 4856353"/>
              <a:gd name="connsiteX1058" fmla="*/ 2317061 w 5860123"/>
              <a:gd name="connsiteY1058" fmla="*/ 4127575 h 4856353"/>
              <a:gd name="connsiteX1059" fmla="*/ 2307536 w 5860123"/>
              <a:gd name="connsiteY1059" fmla="*/ 4125671 h 4856353"/>
              <a:gd name="connsiteX1060" fmla="*/ 2300869 w 5860123"/>
              <a:gd name="connsiteY1060" fmla="*/ 4125671 h 4856353"/>
              <a:gd name="connsiteX1061" fmla="*/ 2296106 w 5860123"/>
              <a:gd name="connsiteY1061" fmla="*/ 4117098 h 4856353"/>
              <a:gd name="connsiteX1062" fmla="*/ 2289439 w 5860123"/>
              <a:gd name="connsiteY1062" fmla="*/ 4114240 h 4856353"/>
              <a:gd name="connsiteX1063" fmla="*/ 2277056 w 5860123"/>
              <a:gd name="connsiteY1063" fmla="*/ 4110431 h 4856353"/>
              <a:gd name="connsiteX1064" fmla="*/ 2280866 w 5860123"/>
              <a:gd name="connsiteY1064" fmla="*/ 4102811 h 4856353"/>
              <a:gd name="connsiteX1065" fmla="*/ 2281819 w 5860123"/>
              <a:gd name="connsiteY1065" fmla="*/ 4092333 h 4856353"/>
              <a:gd name="connsiteX1066" fmla="*/ 2280866 w 5860123"/>
              <a:gd name="connsiteY1066" fmla="*/ 4085665 h 4856353"/>
              <a:gd name="connsiteX1067" fmla="*/ 2275151 w 5860123"/>
              <a:gd name="connsiteY1067" fmla="*/ 4069473 h 4856353"/>
              <a:gd name="connsiteX1068" fmla="*/ 2276104 w 5860123"/>
              <a:gd name="connsiteY1068" fmla="*/ 4059948 h 4856353"/>
              <a:gd name="connsiteX1069" fmla="*/ 2275151 w 5860123"/>
              <a:gd name="connsiteY1069" fmla="*/ 4052328 h 4856353"/>
              <a:gd name="connsiteX1070" fmla="*/ 2273246 w 5860123"/>
              <a:gd name="connsiteY1070" fmla="*/ 4038993 h 4856353"/>
              <a:gd name="connsiteX1071" fmla="*/ 2273246 w 5860123"/>
              <a:gd name="connsiteY1071" fmla="*/ 4043756 h 4856353"/>
              <a:gd name="connsiteX1072" fmla="*/ 2264674 w 5860123"/>
              <a:gd name="connsiteY1072" fmla="*/ 4038993 h 4856353"/>
              <a:gd name="connsiteX1073" fmla="*/ 2258959 w 5860123"/>
              <a:gd name="connsiteY1073" fmla="*/ 4031373 h 4856353"/>
              <a:gd name="connsiteX1074" fmla="*/ 2258959 w 5860123"/>
              <a:gd name="connsiteY1074" fmla="*/ 4018038 h 4856353"/>
              <a:gd name="connsiteX1075" fmla="*/ 2269436 w 5860123"/>
              <a:gd name="connsiteY1075" fmla="*/ 4011371 h 4856353"/>
              <a:gd name="connsiteX1076" fmla="*/ 2276104 w 5860123"/>
              <a:gd name="connsiteY1076" fmla="*/ 4008513 h 4856353"/>
              <a:gd name="connsiteX1077" fmla="*/ 2284676 w 5860123"/>
              <a:gd name="connsiteY1077" fmla="*/ 4004703 h 4856353"/>
              <a:gd name="connsiteX1078" fmla="*/ 2287534 w 5860123"/>
              <a:gd name="connsiteY1078" fmla="*/ 3997083 h 4856353"/>
              <a:gd name="connsiteX1079" fmla="*/ 2283724 w 5860123"/>
              <a:gd name="connsiteY1079" fmla="*/ 3994225 h 4856353"/>
              <a:gd name="connsiteX1080" fmla="*/ 2278009 w 5860123"/>
              <a:gd name="connsiteY1080" fmla="*/ 3998036 h 4856353"/>
              <a:gd name="connsiteX1081" fmla="*/ 2267531 w 5860123"/>
              <a:gd name="connsiteY1081" fmla="*/ 3999940 h 4856353"/>
              <a:gd name="connsiteX1082" fmla="*/ 2252291 w 5860123"/>
              <a:gd name="connsiteY1082" fmla="*/ 3998036 h 4856353"/>
              <a:gd name="connsiteX1083" fmla="*/ 2249434 w 5860123"/>
              <a:gd name="connsiteY1083" fmla="*/ 3996131 h 4856353"/>
              <a:gd name="connsiteX1084" fmla="*/ 2239909 w 5860123"/>
              <a:gd name="connsiteY1084" fmla="*/ 3991368 h 4856353"/>
              <a:gd name="connsiteX1085" fmla="*/ 2227526 w 5860123"/>
              <a:gd name="connsiteY1085" fmla="*/ 3993273 h 4856353"/>
              <a:gd name="connsiteX1086" fmla="*/ 2215144 w 5860123"/>
              <a:gd name="connsiteY1086" fmla="*/ 3991368 h 4856353"/>
              <a:gd name="connsiteX1087" fmla="*/ 2207524 w 5860123"/>
              <a:gd name="connsiteY1087" fmla="*/ 3989463 h 4856353"/>
              <a:gd name="connsiteX1088" fmla="*/ 2195141 w 5860123"/>
              <a:gd name="connsiteY1088" fmla="*/ 3992321 h 4856353"/>
              <a:gd name="connsiteX1089" fmla="*/ 2186569 w 5860123"/>
              <a:gd name="connsiteY1089" fmla="*/ 3994225 h 4856353"/>
              <a:gd name="connsiteX1090" fmla="*/ 2175139 w 5860123"/>
              <a:gd name="connsiteY1090" fmla="*/ 3995178 h 4856353"/>
              <a:gd name="connsiteX1091" fmla="*/ 2153231 w 5860123"/>
              <a:gd name="connsiteY1091" fmla="*/ 4003750 h 4856353"/>
              <a:gd name="connsiteX1092" fmla="*/ 2142754 w 5860123"/>
              <a:gd name="connsiteY1092" fmla="*/ 4009465 h 4856353"/>
              <a:gd name="connsiteX1093" fmla="*/ 2124656 w 5860123"/>
              <a:gd name="connsiteY1093" fmla="*/ 4005656 h 4856353"/>
              <a:gd name="connsiteX1094" fmla="*/ 2129419 w 5860123"/>
              <a:gd name="connsiteY1094" fmla="*/ 3996131 h 4856353"/>
              <a:gd name="connsiteX1095" fmla="*/ 2135134 w 5860123"/>
              <a:gd name="connsiteY1095" fmla="*/ 3990415 h 4856353"/>
              <a:gd name="connsiteX1096" fmla="*/ 2145611 w 5860123"/>
              <a:gd name="connsiteY1096" fmla="*/ 3981843 h 4856353"/>
              <a:gd name="connsiteX1097" fmla="*/ 2151326 w 5860123"/>
              <a:gd name="connsiteY1097" fmla="*/ 3974223 h 4856353"/>
              <a:gd name="connsiteX1098" fmla="*/ 2151326 w 5860123"/>
              <a:gd name="connsiteY1098" fmla="*/ 3962793 h 4856353"/>
              <a:gd name="connsiteX1099" fmla="*/ 2146564 w 5860123"/>
              <a:gd name="connsiteY1099" fmla="*/ 3958031 h 4856353"/>
              <a:gd name="connsiteX1100" fmla="*/ 2143706 w 5860123"/>
              <a:gd name="connsiteY1100" fmla="*/ 3957078 h 4856353"/>
              <a:gd name="connsiteX1101" fmla="*/ 2148469 w 5860123"/>
              <a:gd name="connsiteY1101" fmla="*/ 3945648 h 4856353"/>
              <a:gd name="connsiteX1102" fmla="*/ 2144659 w 5860123"/>
              <a:gd name="connsiteY1102" fmla="*/ 3938028 h 4856353"/>
              <a:gd name="connsiteX1103" fmla="*/ 2136086 w 5860123"/>
              <a:gd name="connsiteY1103" fmla="*/ 3936123 h 4856353"/>
              <a:gd name="connsiteX1104" fmla="*/ 2131324 w 5860123"/>
              <a:gd name="connsiteY1104" fmla="*/ 3924693 h 4856353"/>
              <a:gd name="connsiteX1105" fmla="*/ 2134181 w 5860123"/>
              <a:gd name="connsiteY1105" fmla="*/ 3916121 h 4856353"/>
              <a:gd name="connsiteX1106" fmla="*/ 2137039 w 5860123"/>
              <a:gd name="connsiteY1106" fmla="*/ 3899928 h 4856353"/>
              <a:gd name="connsiteX1107" fmla="*/ 2150374 w 5860123"/>
              <a:gd name="connsiteY1107" fmla="*/ 3884688 h 4856353"/>
              <a:gd name="connsiteX1108" fmla="*/ 2164661 w 5860123"/>
              <a:gd name="connsiteY1108" fmla="*/ 3880878 h 4856353"/>
              <a:gd name="connsiteX1109" fmla="*/ 2162756 w 5860123"/>
              <a:gd name="connsiteY1109" fmla="*/ 3875163 h 4856353"/>
              <a:gd name="connsiteX1110" fmla="*/ 2159899 w 5860123"/>
              <a:gd name="connsiteY1110" fmla="*/ 3868496 h 4856353"/>
              <a:gd name="connsiteX1111" fmla="*/ 2162756 w 5860123"/>
              <a:gd name="connsiteY1111" fmla="*/ 3858971 h 4856353"/>
              <a:gd name="connsiteX1112" fmla="*/ 2167519 w 5860123"/>
              <a:gd name="connsiteY1112" fmla="*/ 3847540 h 4856353"/>
              <a:gd name="connsiteX1113" fmla="*/ 2174186 w 5860123"/>
              <a:gd name="connsiteY1113" fmla="*/ 3837063 h 4856353"/>
              <a:gd name="connsiteX1114" fmla="*/ 2184664 w 5860123"/>
              <a:gd name="connsiteY1114" fmla="*/ 3831348 h 4856353"/>
              <a:gd name="connsiteX1115" fmla="*/ 2191331 w 5860123"/>
              <a:gd name="connsiteY1115" fmla="*/ 3834206 h 4856353"/>
              <a:gd name="connsiteX1116" fmla="*/ 2197999 w 5860123"/>
              <a:gd name="connsiteY1116" fmla="*/ 3826586 h 4856353"/>
              <a:gd name="connsiteX1117" fmla="*/ 2205619 w 5860123"/>
              <a:gd name="connsiteY1117" fmla="*/ 3820871 h 4856353"/>
              <a:gd name="connsiteX1118" fmla="*/ 2215144 w 5860123"/>
              <a:gd name="connsiteY1118" fmla="*/ 3809440 h 4856353"/>
              <a:gd name="connsiteX1119" fmla="*/ 2218954 w 5860123"/>
              <a:gd name="connsiteY1119" fmla="*/ 3801821 h 4856353"/>
              <a:gd name="connsiteX1120" fmla="*/ 2219906 w 5860123"/>
              <a:gd name="connsiteY1120" fmla="*/ 3794200 h 4856353"/>
              <a:gd name="connsiteX1121" fmla="*/ 2223716 w 5860123"/>
              <a:gd name="connsiteY1121" fmla="*/ 3784675 h 4856353"/>
              <a:gd name="connsiteX1122" fmla="*/ 2238004 w 5860123"/>
              <a:gd name="connsiteY1122" fmla="*/ 3789438 h 4856353"/>
              <a:gd name="connsiteX1123" fmla="*/ 2250386 w 5860123"/>
              <a:gd name="connsiteY1123" fmla="*/ 3785628 h 4856353"/>
              <a:gd name="connsiteX1124" fmla="*/ 2260864 w 5860123"/>
              <a:gd name="connsiteY1124" fmla="*/ 3773246 h 4856353"/>
              <a:gd name="connsiteX1125" fmla="*/ 2263721 w 5860123"/>
              <a:gd name="connsiteY1125" fmla="*/ 3765625 h 4856353"/>
              <a:gd name="connsiteX1126" fmla="*/ 2273246 w 5860123"/>
              <a:gd name="connsiteY1126" fmla="*/ 3758958 h 4856353"/>
              <a:gd name="connsiteX1127" fmla="*/ 2278961 w 5860123"/>
              <a:gd name="connsiteY1127" fmla="*/ 3763721 h 4856353"/>
              <a:gd name="connsiteX1128" fmla="*/ 2290391 w 5860123"/>
              <a:gd name="connsiteY1128" fmla="*/ 3758958 h 4856353"/>
              <a:gd name="connsiteX1129" fmla="*/ 2290391 w 5860123"/>
              <a:gd name="connsiteY1129" fmla="*/ 3751338 h 4856353"/>
              <a:gd name="connsiteX1130" fmla="*/ 2282771 w 5860123"/>
              <a:gd name="connsiteY1130" fmla="*/ 3742765 h 4856353"/>
              <a:gd name="connsiteX1131" fmla="*/ 2279914 w 5860123"/>
              <a:gd name="connsiteY1131" fmla="*/ 3730383 h 4856353"/>
              <a:gd name="connsiteX1132" fmla="*/ 2278961 w 5860123"/>
              <a:gd name="connsiteY1132" fmla="*/ 3724668 h 4856353"/>
              <a:gd name="connsiteX1133" fmla="*/ 2285629 w 5860123"/>
              <a:gd name="connsiteY1133" fmla="*/ 3718000 h 4856353"/>
              <a:gd name="connsiteX1134" fmla="*/ 2290391 w 5860123"/>
              <a:gd name="connsiteY1134" fmla="*/ 3721811 h 4856353"/>
              <a:gd name="connsiteX1135" fmla="*/ 2295154 w 5860123"/>
              <a:gd name="connsiteY1135" fmla="*/ 3724668 h 4856353"/>
              <a:gd name="connsiteX1136" fmla="*/ 2298964 w 5860123"/>
              <a:gd name="connsiteY1136" fmla="*/ 3713238 h 4856353"/>
              <a:gd name="connsiteX1137" fmla="*/ 2298011 w 5860123"/>
              <a:gd name="connsiteY1137" fmla="*/ 3697998 h 4856353"/>
              <a:gd name="connsiteX1138" fmla="*/ 2305631 w 5860123"/>
              <a:gd name="connsiteY1138" fmla="*/ 3685615 h 4856353"/>
              <a:gd name="connsiteX1139" fmla="*/ 2308489 w 5860123"/>
              <a:gd name="connsiteY1139" fmla="*/ 3672281 h 4856353"/>
              <a:gd name="connsiteX1140" fmla="*/ 2309441 w 5860123"/>
              <a:gd name="connsiteY1140" fmla="*/ 3664661 h 4856353"/>
              <a:gd name="connsiteX1141" fmla="*/ 2311346 w 5860123"/>
              <a:gd name="connsiteY1141" fmla="*/ 3649421 h 4856353"/>
              <a:gd name="connsiteX1142" fmla="*/ 2311346 w 5860123"/>
              <a:gd name="connsiteY1142" fmla="*/ 3640848 h 4856353"/>
              <a:gd name="connsiteX1143" fmla="*/ 2311346 w 5860123"/>
              <a:gd name="connsiteY1143" fmla="*/ 3627513 h 4856353"/>
              <a:gd name="connsiteX1144" fmla="*/ 2313251 w 5860123"/>
              <a:gd name="connsiteY1144" fmla="*/ 3612273 h 4856353"/>
              <a:gd name="connsiteX1145" fmla="*/ 2315156 w 5860123"/>
              <a:gd name="connsiteY1145" fmla="*/ 3606558 h 4856353"/>
              <a:gd name="connsiteX1146" fmla="*/ 2312299 w 5860123"/>
              <a:gd name="connsiteY1146" fmla="*/ 3597033 h 4856353"/>
              <a:gd name="connsiteX1147" fmla="*/ 2309441 w 5860123"/>
              <a:gd name="connsiteY1147" fmla="*/ 3586556 h 4856353"/>
              <a:gd name="connsiteX1148" fmla="*/ 2315156 w 5860123"/>
              <a:gd name="connsiteY1148" fmla="*/ 3568458 h 4856353"/>
              <a:gd name="connsiteX1149" fmla="*/ 2313251 w 5860123"/>
              <a:gd name="connsiteY1149" fmla="*/ 3550361 h 4856353"/>
              <a:gd name="connsiteX1150" fmla="*/ 2313251 w 5860123"/>
              <a:gd name="connsiteY1150" fmla="*/ 3533215 h 4856353"/>
              <a:gd name="connsiteX1151" fmla="*/ 2312299 w 5860123"/>
              <a:gd name="connsiteY1151" fmla="*/ 3525596 h 4856353"/>
              <a:gd name="connsiteX1152" fmla="*/ 2301821 w 5860123"/>
              <a:gd name="connsiteY1152" fmla="*/ 3521786 h 4856353"/>
              <a:gd name="connsiteX1153" fmla="*/ 2297059 w 5860123"/>
              <a:gd name="connsiteY1153" fmla="*/ 3517023 h 4856353"/>
              <a:gd name="connsiteX1154" fmla="*/ 2290391 w 5860123"/>
              <a:gd name="connsiteY1154" fmla="*/ 3515118 h 4856353"/>
              <a:gd name="connsiteX1155" fmla="*/ 2285629 w 5860123"/>
              <a:gd name="connsiteY1155" fmla="*/ 3523690 h 4856353"/>
              <a:gd name="connsiteX1156" fmla="*/ 2282771 w 5860123"/>
              <a:gd name="connsiteY1156" fmla="*/ 3530358 h 4856353"/>
              <a:gd name="connsiteX1157" fmla="*/ 2274199 w 5860123"/>
              <a:gd name="connsiteY1157" fmla="*/ 3531311 h 4856353"/>
              <a:gd name="connsiteX1158" fmla="*/ 2268484 w 5860123"/>
              <a:gd name="connsiteY1158" fmla="*/ 3526548 h 4856353"/>
              <a:gd name="connsiteX1159" fmla="*/ 2267531 w 5860123"/>
              <a:gd name="connsiteY1159" fmla="*/ 3519881 h 4856353"/>
              <a:gd name="connsiteX1160" fmla="*/ 2263721 w 5860123"/>
              <a:gd name="connsiteY1160" fmla="*/ 3505593 h 4856353"/>
              <a:gd name="connsiteX1161" fmla="*/ 2262769 w 5860123"/>
              <a:gd name="connsiteY1161" fmla="*/ 3496068 h 4856353"/>
              <a:gd name="connsiteX1162" fmla="*/ 2260864 w 5860123"/>
              <a:gd name="connsiteY1162" fmla="*/ 3486543 h 4856353"/>
              <a:gd name="connsiteX1163" fmla="*/ 2259911 w 5860123"/>
              <a:gd name="connsiteY1163" fmla="*/ 3476065 h 4856353"/>
              <a:gd name="connsiteX1164" fmla="*/ 2255149 w 5860123"/>
              <a:gd name="connsiteY1164" fmla="*/ 3467493 h 4856353"/>
              <a:gd name="connsiteX1165" fmla="*/ 2256101 w 5860123"/>
              <a:gd name="connsiteY1165" fmla="*/ 3457968 h 4856353"/>
              <a:gd name="connsiteX1166" fmla="*/ 2257054 w 5860123"/>
              <a:gd name="connsiteY1166" fmla="*/ 3456063 h 4856353"/>
              <a:gd name="connsiteX1167" fmla="*/ 2259911 w 5860123"/>
              <a:gd name="connsiteY1167" fmla="*/ 3447490 h 4856353"/>
              <a:gd name="connsiteX1168" fmla="*/ 2254196 w 5860123"/>
              <a:gd name="connsiteY1168" fmla="*/ 3441775 h 4856353"/>
              <a:gd name="connsiteX1169" fmla="*/ 2243719 w 5860123"/>
              <a:gd name="connsiteY1169" fmla="*/ 3437013 h 4856353"/>
              <a:gd name="connsiteX1170" fmla="*/ 2238956 w 5860123"/>
              <a:gd name="connsiteY1170" fmla="*/ 3427488 h 4856353"/>
              <a:gd name="connsiteX1171" fmla="*/ 2235146 w 5860123"/>
              <a:gd name="connsiteY1171" fmla="*/ 3417011 h 4856353"/>
              <a:gd name="connsiteX1172" fmla="*/ 2228479 w 5860123"/>
              <a:gd name="connsiteY1172" fmla="*/ 3414153 h 4856353"/>
              <a:gd name="connsiteX1173" fmla="*/ 2221811 w 5860123"/>
              <a:gd name="connsiteY1173" fmla="*/ 3417963 h 4856353"/>
              <a:gd name="connsiteX1174" fmla="*/ 2216096 w 5860123"/>
              <a:gd name="connsiteY1174" fmla="*/ 3406533 h 4856353"/>
              <a:gd name="connsiteX1175" fmla="*/ 2216096 w 5860123"/>
              <a:gd name="connsiteY1175" fmla="*/ 3399865 h 4856353"/>
              <a:gd name="connsiteX1176" fmla="*/ 2209429 w 5860123"/>
              <a:gd name="connsiteY1176" fmla="*/ 3392246 h 4856353"/>
              <a:gd name="connsiteX1177" fmla="*/ 2199904 w 5860123"/>
              <a:gd name="connsiteY1177" fmla="*/ 3391293 h 4856353"/>
              <a:gd name="connsiteX1178" fmla="*/ 2191331 w 5860123"/>
              <a:gd name="connsiteY1178" fmla="*/ 3393198 h 4856353"/>
              <a:gd name="connsiteX1179" fmla="*/ 2191331 w 5860123"/>
              <a:gd name="connsiteY1179" fmla="*/ 3399865 h 4856353"/>
              <a:gd name="connsiteX1180" fmla="*/ 2189426 w 5860123"/>
              <a:gd name="connsiteY1180" fmla="*/ 3410343 h 4856353"/>
              <a:gd name="connsiteX1181" fmla="*/ 2171329 w 5860123"/>
              <a:gd name="connsiteY1181" fmla="*/ 3421773 h 4856353"/>
              <a:gd name="connsiteX1182" fmla="*/ 2169424 w 5860123"/>
              <a:gd name="connsiteY1182" fmla="*/ 3426536 h 4856353"/>
              <a:gd name="connsiteX1183" fmla="*/ 2167519 w 5860123"/>
              <a:gd name="connsiteY1183" fmla="*/ 3432250 h 4856353"/>
              <a:gd name="connsiteX1184" fmla="*/ 2163709 w 5860123"/>
              <a:gd name="connsiteY1184" fmla="*/ 3437013 h 4856353"/>
              <a:gd name="connsiteX1185" fmla="*/ 2163709 w 5860123"/>
              <a:gd name="connsiteY1185" fmla="*/ 3441775 h 4856353"/>
              <a:gd name="connsiteX1186" fmla="*/ 2169424 w 5860123"/>
              <a:gd name="connsiteY1186" fmla="*/ 3454158 h 4856353"/>
              <a:gd name="connsiteX1187" fmla="*/ 2167519 w 5860123"/>
              <a:gd name="connsiteY1187" fmla="*/ 3461778 h 4856353"/>
              <a:gd name="connsiteX1188" fmla="*/ 2162756 w 5860123"/>
              <a:gd name="connsiteY1188" fmla="*/ 3469398 h 4856353"/>
              <a:gd name="connsiteX1189" fmla="*/ 2157041 w 5860123"/>
              <a:gd name="connsiteY1189" fmla="*/ 3466540 h 4856353"/>
              <a:gd name="connsiteX1190" fmla="*/ 2151326 w 5860123"/>
              <a:gd name="connsiteY1190" fmla="*/ 3467493 h 4856353"/>
              <a:gd name="connsiteX1191" fmla="*/ 2138944 w 5860123"/>
              <a:gd name="connsiteY1191" fmla="*/ 3477018 h 4856353"/>
              <a:gd name="connsiteX1192" fmla="*/ 2132276 w 5860123"/>
              <a:gd name="connsiteY1192" fmla="*/ 3482733 h 4856353"/>
              <a:gd name="connsiteX1193" fmla="*/ 2125609 w 5860123"/>
              <a:gd name="connsiteY1193" fmla="*/ 3477018 h 4856353"/>
              <a:gd name="connsiteX1194" fmla="*/ 2118941 w 5860123"/>
              <a:gd name="connsiteY1194" fmla="*/ 3467493 h 4856353"/>
              <a:gd name="connsiteX1195" fmla="*/ 2113226 w 5860123"/>
              <a:gd name="connsiteY1195" fmla="*/ 3460825 h 4856353"/>
              <a:gd name="connsiteX1196" fmla="*/ 2108464 w 5860123"/>
              <a:gd name="connsiteY1196" fmla="*/ 3458921 h 4856353"/>
              <a:gd name="connsiteX1197" fmla="*/ 2100844 w 5860123"/>
              <a:gd name="connsiteY1197" fmla="*/ 3457968 h 4856353"/>
              <a:gd name="connsiteX1198" fmla="*/ 2095129 w 5860123"/>
              <a:gd name="connsiteY1198" fmla="*/ 3450348 h 4856353"/>
              <a:gd name="connsiteX1199" fmla="*/ 2086556 w 5860123"/>
              <a:gd name="connsiteY1199" fmla="*/ 3444633 h 4856353"/>
              <a:gd name="connsiteX1200" fmla="*/ 2077031 w 5860123"/>
              <a:gd name="connsiteY1200" fmla="*/ 3435108 h 4856353"/>
              <a:gd name="connsiteX1201" fmla="*/ 2062744 w 5860123"/>
              <a:gd name="connsiteY1201" fmla="*/ 3428440 h 4856353"/>
              <a:gd name="connsiteX1202" fmla="*/ 2054171 w 5860123"/>
              <a:gd name="connsiteY1202" fmla="*/ 3424631 h 4856353"/>
              <a:gd name="connsiteX1203" fmla="*/ 2048456 w 5860123"/>
              <a:gd name="connsiteY1203" fmla="*/ 3423678 h 4856353"/>
              <a:gd name="connsiteX1204" fmla="*/ 2039884 w 5860123"/>
              <a:gd name="connsiteY1204" fmla="*/ 3422725 h 4856353"/>
              <a:gd name="connsiteX1205" fmla="*/ 2041789 w 5860123"/>
              <a:gd name="connsiteY1205" fmla="*/ 3411296 h 4856353"/>
              <a:gd name="connsiteX1206" fmla="*/ 2035121 w 5860123"/>
              <a:gd name="connsiteY1206" fmla="*/ 3401771 h 4856353"/>
              <a:gd name="connsiteX1207" fmla="*/ 2023691 w 5860123"/>
              <a:gd name="connsiteY1207" fmla="*/ 3401771 h 4856353"/>
              <a:gd name="connsiteX1208" fmla="*/ 2015119 w 5860123"/>
              <a:gd name="connsiteY1208" fmla="*/ 3402723 h 4856353"/>
              <a:gd name="connsiteX1209" fmla="*/ 2006546 w 5860123"/>
              <a:gd name="connsiteY1209" fmla="*/ 3400818 h 4856353"/>
              <a:gd name="connsiteX1210" fmla="*/ 2000831 w 5860123"/>
              <a:gd name="connsiteY1210" fmla="*/ 3397008 h 4856353"/>
              <a:gd name="connsiteX1211" fmla="*/ 1984639 w 5860123"/>
              <a:gd name="connsiteY1211" fmla="*/ 3397008 h 4856353"/>
              <a:gd name="connsiteX1212" fmla="*/ 1979876 w 5860123"/>
              <a:gd name="connsiteY1212" fmla="*/ 3388436 h 4856353"/>
              <a:gd name="connsiteX1213" fmla="*/ 1967494 w 5860123"/>
              <a:gd name="connsiteY1213" fmla="*/ 3391293 h 4856353"/>
              <a:gd name="connsiteX1214" fmla="*/ 1949396 w 5860123"/>
              <a:gd name="connsiteY1214" fmla="*/ 3397961 h 4856353"/>
              <a:gd name="connsiteX1215" fmla="*/ 1927489 w 5860123"/>
              <a:gd name="connsiteY1215" fmla="*/ 3416058 h 4856353"/>
              <a:gd name="connsiteX1216" fmla="*/ 1926536 w 5860123"/>
              <a:gd name="connsiteY1216" fmla="*/ 3418915 h 4856353"/>
              <a:gd name="connsiteX1217" fmla="*/ 1917011 w 5860123"/>
              <a:gd name="connsiteY1217" fmla="*/ 3428440 h 4856353"/>
              <a:gd name="connsiteX1218" fmla="*/ 1899866 w 5860123"/>
              <a:gd name="connsiteY1218" fmla="*/ 3433203 h 4856353"/>
              <a:gd name="connsiteX1219" fmla="*/ 1883674 w 5860123"/>
              <a:gd name="connsiteY1219" fmla="*/ 3438918 h 4856353"/>
              <a:gd name="connsiteX1220" fmla="*/ 1872244 w 5860123"/>
              <a:gd name="connsiteY1220" fmla="*/ 3442728 h 4856353"/>
              <a:gd name="connsiteX1221" fmla="*/ 1868434 w 5860123"/>
              <a:gd name="connsiteY1221" fmla="*/ 3444633 h 4856353"/>
              <a:gd name="connsiteX1222" fmla="*/ 1853194 w 5860123"/>
              <a:gd name="connsiteY1222" fmla="*/ 3450348 h 4856353"/>
              <a:gd name="connsiteX1223" fmla="*/ 1842716 w 5860123"/>
              <a:gd name="connsiteY1223" fmla="*/ 3454158 h 4856353"/>
              <a:gd name="connsiteX1224" fmla="*/ 1863671 w 5860123"/>
              <a:gd name="connsiteY1224" fmla="*/ 3453206 h 4856353"/>
              <a:gd name="connsiteX1225" fmla="*/ 1852241 w 5860123"/>
              <a:gd name="connsiteY1225" fmla="*/ 3456063 h 4856353"/>
              <a:gd name="connsiteX1226" fmla="*/ 1836049 w 5860123"/>
              <a:gd name="connsiteY1226" fmla="*/ 3457968 h 4856353"/>
              <a:gd name="connsiteX1227" fmla="*/ 1817951 w 5860123"/>
              <a:gd name="connsiteY1227" fmla="*/ 3456063 h 4856353"/>
              <a:gd name="connsiteX1228" fmla="*/ 1807474 w 5860123"/>
              <a:gd name="connsiteY1228" fmla="*/ 3462731 h 4856353"/>
              <a:gd name="connsiteX1229" fmla="*/ 1795091 w 5860123"/>
              <a:gd name="connsiteY1229" fmla="*/ 3475113 h 4856353"/>
              <a:gd name="connsiteX1230" fmla="*/ 1784614 w 5860123"/>
              <a:gd name="connsiteY1230" fmla="*/ 3483686 h 4856353"/>
              <a:gd name="connsiteX1231" fmla="*/ 1766516 w 5860123"/>
              <a:gd name="connsiteY1231" fmla="*/ 3499878 h 4856353"/>
              <a:gd name="connsiteX1232" fmla="*/ 1763659 w 5860123"/>
              <a:gd name="connsiteY1232" fmla="*/ 3502736 h 4856353"/>
              <a:gd name="connsiteX1233" fmla="*/ 1757944 w 5860123"/>
              <a:gd name="connsiteY1233" fmla="*/ 3517023 h 4856353"/>
              <a:gd name="connsiteX1234" fmla="*/ 1755086 w 5860123"/>
              <a:gd name="connsiteY1234" fmla="*/ 3523690 h 4856353"/>
              <a:gd name="connsiteX1235" fmla="*/ 1737941 w 5860123"/>
              <a:gd name="connsiteY1235" fmla="*/ 3529406 h 4856353"/>
              <a:gd name="connsiteX1236" fmla="*/ 1726511 w 5860123"/>
              <a:gd name="connsiteY1236" fmla="*/ 3531311 h 4856353"/>
              <a:gd name="connsiteX1237" fmla="*/ 1712224 w 5860123"/>
              <a:gd name="connsiteY1237" fmla="*/ 3530358 h 4856353"/>
              <a:gd name="connsiteX1238" fmla="*/ 1698889 w 5860123"/>
              <a:gd name="connsiteY1238" fmla="*/ 3530358 h 4856353"/>
              <a:gd name="connsiteX1239" fmla="*/ 1695079 w 5860123"/>
              <a:gd name="connsiteY1239" fmla="*/ 3530358 h 4856353"/>
              <a:gd name="connsiteX1240" fmla="*/ 1683649 w 5860123"/>
              <a:gd name="connsiteY1240" fmla="*/ 3529406 h 4856353"/>
              <a:gd name="connsiteX1241" fmla="*/ 1669361 w 5860123"/>
              <a:gd name="connsiteY1241" fmla="*/ 3529406 h 4856353"/>
              <a:gd name="connsiteX1242" fmla="*/ 1665551 w 5860123"/>
              <a:gd name="connsiteY1242" fmla="*/ 3528453 h 4856353"/>
              <a:gd name="connsiteX1243" fmla="*/ 1653169 w 5860123"/>
              <a:gd name="connsiteY1243" fmla="*/ 3523690 h 4856353"/>
              <a:gd name="connsiteX1244" fmla="*/ 1641739 w 5860123"/>
              <a:gd name="connsiteY1244" fmla="*/ 3520833 h 4856353"/>
              <a:gd name="connsiteX1245" fmla="*/ 1636024 w 5860123"/>
              <a:gd name="connsiteY1245" fmla="*/ 3520833 h 4856353"/>
              <a:gd name="connsiteX1246" fmla="*/ 1620784 w 5860123"/>
              <a:gd name="connsiteY1246" fmla="*/ 3512261 h 4856353"/>
              <a:gd name="connsiteX1247" fmla="*/ 1609354 w 5860123"/>
              <a:gd name="connsiteY1247" fmla="*/ 3509403 h 4856353"/>
              <a:gd name="connsiteX1248" fmla="*/ 1605544 w 5860123"/>
              <a:gd name="connsiteY1248" fmla="*/ 3509403 h 4856353"/>
              <a:gd name="connsiteX1249" fmla="*/ 1579826 w 5860123"/>
              <a:gd name="connsiteY1249" fmla="*/ 3512261 h 4856353"/>
              <a:gd name="connsiteX1250" fmla="*/ 1561729 w 5860123"/>
              <a:gd name="connsiteY1250" fmla="*/ 3510356 h 4856353"/>
              <a:gd name="connsiteX1251" fmla="*/ 1552204 w 5860123"/>
              <a:gd name="connsiteY1251" fmla="*/ 3505593 h 4856353"/>
              <a:gd name="connsiteX1252" fmla="*/ 1553156 w 5860123"/>
              <a:gd name="connsiteY1252" fmla="*/ 3490353 h 4856353"/>
              <a:gd name="connsiteX1253" fmla="*/ 1549346 w 5860123"/>
              <a:gd name="connsiteY1253" fmla="*/ 3480828 h 4856353"/>
              <a:gd name="connsiteX1254" fmla="*/ 1554109 w 5860123"/>
              <a:gd name="connsiteY1254" fmla="*/ 3460825 h 4856353"/>
              <a:gd name="connsiteX1255" fmla="*/ 1561729 w 5860123"/>
              <a:gd name="connsiteY1255" fmla="*/ 3446538 h 4856353"/>
              <a:gd name="connsiteX1256" fmla="*/ 1557919 w 5860123"/>
              <a:gd name="connsiteY1256" fmla="*/ 3434156 h 4856353"/>
              <a:gd name="connsiteX1257" fmla="*/ 1552204 w 5860123"/>
              <a:gd name="connsiteY1257" fmla="*/ 3426536 h 4856353"/>
              <a:gd name="connsiteX1258" fmla="*/ 1536964 w 5860123"/>
              <a:gd name="connsiteY1258" fmla="*/ 3422725 h 4856353"/>
              <a:gd name="connsiteX1259" fmla="*/ 1523629 w 5860123"/>
              <a:gd name="connsiteY1259" fmla="*/ 3419868 h 4856353"/>
              <a:gd name="connsiteX1260" fmla="*/ 1514104 w 5860123"/>
              <a:gd name="connsiteY1260" fmla="*/ 3415106 h 4856353"/>
              <a:gd name="connsiteX1261" fmla="*/ 1511246 w 5860123"/>
              <a:gd name="connsiteY1261" fmla="*/ 3403675 h 4856353"/>
              <a:gd name="connsiteX1262" fmla="*/ 1515056 w 5860123"/>
              <a:gd name="connsiteY1262" fmla="*/ 3393198 h 4856353"/>
              <a:gd name="connsiteX1263" fmla="*/ 1517914 w 5860123"/>
              <a:gd name="connsiteY1263" fmla="*/ 3379863 h 4856353"/>
              <a:gd name="connsiteX1264" fmla="*/ 1517914 w 5860123"/>
              <a:gd name="connsiteY1264" fmla="*/ 3377006 h 4856353"/>
              <a:gd name="connsiteX1265" fmla="*/ 1511246 w 5860123"/>
              <a:gd name="connsiteY1265" fmla="*/ 3372243 h 4856353"/>
              <a:gd name="connsiteX1266" fmla="*/ 1515056 w 5860123"/>
              <a:gd name="connsiteY1266" fmla="*/ 3368433 h 4856353"/>
              <a:gd name="connsiteX1267" fmla="*/ 1517914 w 5860123"/>
              <a:gd name="connsiteY1267" fmla="*/ 3363671 h 4856353"/>
              <a:gd name="connsiteX1268" fmla="*/ 1509341 w 5860123"/>
              <a:gd name="connsiteY1268" fmla="*/ 3357956 h 4856353"/>
              <a:gd name="connsiteX1269" fmla="*/ 1496959 w 5860123"/>
              <a:gd name="connsiteY1269" fmla="*/ 3340811 h 4856353"/>
              <a:gd name="connsiteX1270" fmla="*/ 1496006 w 5860123"/>
              <a:gd name="connsiteY1270" fmla="*/ 3338906 h 4856353"/>
              <a:gd name="connsiteX1271" fmla="*/ 1489339 w 5860123"/>
              <a:gd name="connsiteY1271" fmla="*/ 3337000 h 4856353"/>
              <a:gd name="connsiteX1272" fmla="*/ 1482671 w 5860123"/>
              <a:gd name="connsiteY1272" fmla="*/ 3341763 h 4856353"/>
              <a:gd name="connsiteX1273" fmla="*/ 1475051 w 5860123"/>
              <a:gd name="connsiteY1273" fmla="*/ 3343668 h 4856353"/>
              <a:gd name="connsiteX1274" fmla="*/ 1467431 w 5860123"/>
              <a:gd name="connsiteY1274" fmla="*/ 3344621 h 4856353"/>
              <a:gd name="connsiteX1275" fmla="*/ 1460764 w 5860123"/>
              <a:gd name="connsiteY1275" fmla="*/ 3351288 h 4856353"/>
              <a:gd name="connsiteX1276" fmla="*/ 1447429 w 5860123"/>
              <a:gd name="connsiteY1276" fmla="*/ 3343668 h 4856353"/>
              <a:gd name="connsiteX1277" fmla="*/ 1428379 w 5860123"/>
              <a:gd name="connsiteY1277" fmla="*/ 3329381 h 4856353"/>
              <a:gd name="connsiteX1278" fmla="*/ 1427426 w 5860123"/>
              <a:gd name="connsiteY1278" fmla="*/ 3327475 h 4856353"/>
              <a:gd name="connsiteX1279" fmla="*/ 1415044 w 5860123"/>
              <a:gd name="connsiteY1279" fmla="*/ 3318903 h 4856353"/>
              <a:gd name="connsiteX1280" fmla="*/ 1403614 w 5860123"/>
              <a:gd name="connsiteY1280" fmla="*/ 3318903 h 4856353"/>
              <a:gd name="connsiteX1281" fmla="*/ 1392184 w 5860123"/>
              <a:gd name="connsiteY1281" fmla="*/ 3313188 h 4856353"/>
              <a:gd name="connsiteX1282" fmla="*/ 1380754 w 5860123"/>
              <a:gd name="connsiteY1282" fmla="*/ 3306521 h 4856353"/>
              <a:gd name="connsiteX1283" fmla="*/ 1375039 w 5860123"/>
              <a:gd name="connsiteY1283" fmla="*/ 3299853 h 4856353"/>
              <a:gd name="connsiteX1284" fmla="*/ 1362656 w 5860123"/>
              <a:gd name="connsiteY1284" fmla="*/ 3293186 h 4856353"/>
              <a:gd name="connsiteX1285" fmla="*/ 1355989 w 5860123"/>
              <a:gd name="connsiteY1285" fmla="*/ 3293186 h 4856353"/>
              <a:gd name="connsiteX1286" fmla="*/ 1352179 w 5860123"/>
              <a:gd name="connsiteY1286" fmla="*/ 3294138 h 4856353"/>
              <a:gd name="connsiteX1287" fmla="*/ 1340749 w 5860123"/>
              <a:gd name="connsiteY1287" fmla="*/ 3289375 h 4856353"/>
              <a:gd name="connsiteX1288" fmla="*/ 1331224 w 5860123"/>
              <a:gd name="connsiteY1288" fmla="*/ 3281756 h 4856353"/>
              <a:gd name="connsiteX1289" fmla="*/ 1318841 w 5860123"/>
              <a:gd name="connsiteY1289" fmla="*/ 3274136 h 4856353"/>
              <a:gd name="connsiteX1290" fmla="*/ 1313126 w 5860123"/>
              <a:gd name="connsiteY1290" fmla="*/ 3278898 h 4856353"/>
              <a:gd name="connsiteX1291" fmla="*/ 1306459 w 5860123"/>
              <a:gd name="connsiteY1291" fmla="*/ 3280803 h 4856353"/>
              <a:gd name="connsiteX1292" fmla="*/ 1295029 w 5860123"/>
              <a:gd name="connsiteY1292" fmla="*/ 3280803 h 4856353"/>
              <a:gd name="connsiteX1293" fmla="*/ 1286456 w 5860123"/>
              <a:gd name="connsiteY1293" fmla="*/ 3284613 h 4856353"/>
              <a:gd name="connsiteX1294" fmla="*/ 1272169 w 5860123"/>
              <a:gd name="connsiteY1294" fmla="*/ 3298900 h 4856353"/>
              <a:gd name="connsiteX1295" fmla="*/ 1250261 w 5860123"/>
              <a:gd name="connsiteY1295" fmla="*/ 3315093 h 4856353"/>
              <a:gd name="connsiteX1296" fmla="*/ 1230259 w 5860123"/>
              <a:gd name="connsiteY1296" fmla="*/ 3334143 h 4856353"/>
              <a:gd name="connsiteX1297" fmla="*/ 1227401 w 5860123"/>
              <a:gd name="connsiteY1297" fmla="*/ 3344621 h 4856353"/>
              <a:gd name="connsiteX1298" fmla="*/ 1218829 w 5860123"/>
              <a:gd name="connsiteY1298" fmla="*/ 3360813 h 4856353"/>
              <a:gd name="connsiteX1299" fmla="*/ 1218829 w 5860123"/>
              <a:gd name="connsiteY1299" fmla="*/ 3378911 h 4856353"/>
              <a:gd name="connsiteX1300" fmla="*/ 1210256 w 5860123"/>
              <a:gd name="connsiteY1300" fmla="*/ 3382721 h 4856353"/>
              <a:gd name="connsiteX1301" fmla="*/ 1208351 w 5860123"/>
              <a:gd name="connsiteY1301" fmla="*/ 3383673 h 4856353"/>
              <a:gd name="connsiteX1302" fmla="*/ 1195016 w 5860123"/>
              <a:gd name="connsiteY1302" fmla="*/ 3383673 h 4856353"/>
              <a:gd name="connsiteX1303" fmla="*/ 1187396 w 5860123"/>
              <a:gd name="connsiteY1303" fmla="*/ 3366528 h 4856353"/>
              <a:gd name="connsiteX1304" fmla="*/ 1185491 w 5860123"/>
              <a:gd name="connsiteY1304" fmla="*/ 3363671 h 4856353"/>
              <a:gd name="connsiteX1305" fmla="*/ 1184539 w 5860123"/>
              <a:gd name="connsiteY1305" fmla="*/ 3361765 h 4856353"/>
              <a:gd name="connsiteX1306" fmla="*/ 1181681 w 5860123"/>
              <a:gd name="connsiteY1306" fmla="*/ 3345573 h 4856353"/>
              <a:gd name="connsiteX1307" fmla="*/ 1186444 w 5860123"/>
              <a:gd name="connsiteY1307" fmla="*/ 3334143 h 4856353"/>
              <a:gd name="connsiteX1308" fmla="*/ 1193111 w 5860123"/>
              <a:gd name="connsiteY1308" fmla="*/ 3323665 h 4856353"/>
              <a:gd name="connsiteX1309" fmla="*/ 1200731 w 5860123"/>
              <a:gd name="connsiteY1309" fmla="*/ 3300806 h 4856353"/>
              <a:gd name="connsiteX1310" fmla="*/ 1198826 w 5860123"/>
              <a:gd name="connsiteY1310" fmla="*/ 3283661 h 4856353"/>
              <a:gd name="connsiteX1311" fmla="*/ 1195969 w 5860123"/>
              <a:gd name="connsiteY1311" fmla="*/ 3274136 h 4856353"/>
              <a:gd name="connsiteX1312" fmla="*/ 1188349 w 5860123"/>
              <a:gd name="connsiteY1312" fmla="*/ 3268421 h 4856353"/>
              <a:gd name="connsiteX1313" fmla="*/ 1178824 w 5860123"/>
              <a:gd name="connsiteY1313" fmla="*/ 3263658 h 4856353"/>
              <a:gd name="connsiteX1314" fmla="*/ 1172156 w 5860123"/>
              <a:gd name="connsiteY1314" fmla="*/ 3267468 h 4856353"/>
              <a:gd name="connsiteX1315" fmla="*/ 1166441 w 5860123"/>
              <a:gd name="connsiteY1315" fmla="*/ 3269373 h 4856353"/>
              <a:gd name="connsiteX1316" fmla="*/ 1158821 w 5860123"/>
              <a:gd name="connsiteY1316" fmla="*/ 3270325 h 4856353"/>
              <a:gd name="connsiteX1317" fmla="*/ 1155964 w 5860123"/>
              <a:gd name="connsiteY1317" fmla="*/ 3271278 h 4856353"/>
              <a:gd name="connsiteX1318" fmla="*/ 1145486 w 5860123"/>
              <a:gd name="connsiteY1318" fmla="*/ 3275088 h 4856353"/>
              <a:gd name="connsiteX1319" fmla="*/ 1137866 w 5860123"/>
              <a:gd name="connsiteY1319" fmla="*/ 3278898 h 4856353"/>
              <a:gd name="connsiteX1320" fmla="*/ 1135961 w 5860123"/>
              <a:gd name="connsiteY1320" fmla="*/ 3280803 h 4856353"/>
              <a:gd name="connsiteX1321" fmla="*/ 1129294 w 5860123"/>
              <a:gd name="connsiteY1321" fmla="*/ 3279850 h 4856353"/>
              <a:gd name="connsiteX1322" fmla="*/ 1122626 w 5860123"/>
              <a:gd name="connsiteY1322" fmla="*/ 3276993 h 4856353"/>
              <a:gd name="connsiteX1323" fmla="*/ 1113101 w 5860123"/>
              <a:gd name="connsiteY1323" fmla="*/ 3280803 h 4856353"/>
              <a:gd name="connsiteX1324" fmla="*/ 1102624 w 5860123"/>
              <a:gd name="connsiteY1324" fmla="*/ 3276993 h 4856353"/>
              <a:gd name="connsiteX1325" fmla="*/ 1094051 w 5860123"/>
              <a:gd name="connsiteY1325" fmla="*/ 3274136 h 4856353"/>
              <a:gd name="connsiteX1326" fmla="*/ 1091194 w 5860123"/>
              <a:gd name="connsiteY1326" fmla="*/ 3273183 h 4856353"/>
              <a:gd name="connsiteX1327" fmla="*/ 1087384 w 5860123"/>
              <a:gd name="connsiteY1327" fmla="*/ 3269373 h 4856353"/>
              <a:gd name="connsiteX1328" fmla="*/ 1083574 w 5860123"/>
              <a:gd name="connsiteY1328" fmla="*/ 3266515 h 4856353"/>
              <a:gd name="connsiteX1329" fmla="*/ 1075954 w 5860123"/>
              <a:gd name="connsiteY1329" fmla="*/ 3273183 h 4856353"/>
              <a:gd name="connsiteX1330" fmla="*/ 1072144 w 5860123"/>
              <a:gd name="connsiteY1330" fmla="*/ 3276993 h 4856353"/>
              <a:gd name="connsiteX1331" fmla="*/ 1064524 w 5860123"/>
              <a:gd name="connsiteY1331" fmla="*/ 3282708 h 4856353"/>
              <a:gd name="connsiteX1332" fmla="*/ 1058809 w 5860123"/>
              <a:gd name="connsiteY1332" fmla="*/ 3277946 h 4856353"/>
              <a:gd name="connsiteX1333" fmla="*/ 1048331 w 5860123"/>
              <a:gd name="connsiteY1333" fmla="*/ 3270325 h 4856353"/>
              <a:gd name="connsiteX1334" fmla="*/ 1042616 w 5860123"/>
              <a:gd name="connsiteY1334" fmla="*/ 3270325 h 4856353"/>
              <a:gd name="connsiteX1335" fmla="*/ 1033091 w 5860123"/>
              <a:gd name="connsiteY1335" fmla="*/ 3270325 h 4856353"/>
              <a:gd name="connsiteX1336" fmla="*/ 1031186 w 5860123"/>
              <a:gd name="connsiteY1336" fmla="*/ 3267468 h 4856353"/>
              <a:gd name="connsiteX1337" fmla="*/ 1026424 w 5860123"/>
              <a:gd name="connsiteY1337" fmla="*/ 3268421 h 4856353"/>
              <a:gd name="connsiteX1338" fmla="*/ 1020709 w 5860123"/>
              <a:gd name="connsiteY1338" fmla="*/ 3267468 h 4856353"/>
              <a:gd name="connsiteX1339" fmla="*/ 1012136 w 5860123"/>
              <a:gd name="connsiteY1339" fmla="*/ 3265563 h 4856353"/>
              <a:gd name="connsiteX1340" fmla="*/ 1003564 w 5860123"/>
              <a:gd name="connsiteY1340" fmla="*/ 3263658 h 4856353"/>
              <a:gd name="connsiteX1341" fmla="*/ 996896 w 5860123"/>
              <a:gd name="connsiteY1341" fmla="*/ 3255086 h 4856353"/>
              <a:gd name="connsiteX1342" fmla="*/ 988324 w 5860123"/>
              <a:gd name="connsiteY1342" fmla="*/ 3243656 h 4856353"/>
              <a:gd name="connsiteX1343" fmla="*/ 982609 w 5860123"/>
              <a:gd name="connsiteY1343" fmla="*/ 3242703 h 4856353"/>
              <a:gd name="connsiteX1344" fmla="*/ 979751 w 5860123"/>
              <a:gd name="connsiteY1344" fmla="*/ 3236988 h 4856353"/>
              <a:gd name="connsiteX1345" fmla="*/ 974989 w 5860123"/>
              <a:gd name="connsiteY1345" fmla="*/ 3231273 h 4856353"/>
              <a:gd name="connsiteX1346" fmla="*/ 969274 w 5860123"/>
              <a:gd name="connsiteY1346" fmla="*/ 3229368 h 4856353"/>
              <a:gd name="connsiteX1347" fmla="*/ 957844 w 5860123"/>
              <a:gd name="connsiteY1347" fmla="*/ 3216033 h 4856353"/>
              <a:gd name="connsiteX1348" fmla="*/ 946414 w 5860123"/>
              <a:gd name="connsiteY1348" fmla="*/ 3213175 h 4856353"/>
              <a:gd name="connsiteX1349" fmla="*/ 942604 w 5860123"/>
              <a:gd name="connsiteY1349" fmla="*/ 3210318 h 4856353"/>
              <a:gd name="connsiteX1350" fmla="*/ 939746 w 5860123"/>
              <a:gd name="connsiteY1350" fmla="*/ 3216986 h 4856353"/>
              <a:gd name="connsiteX1351" fmla="*/ 935936 w 5860123"/>
              <a:gd name="connsiteY1351" fmla="*/ 3224606 h 4856353"/>
              <a:gd name="connsiteX1352" fmla="*/ 930221 w 5860123"/>
              <a:gd name="connsiteY1352" fmla="*/ 3231273 h 4856353"/>
              <a:gd name="connsiteX1353" fmla="*/ 919744 w 5860123"/>
              <a:gd name="connsiteY1353" fmla="*/ 3229368 h 4856353"/>
              <a:gd name="connsiteX1354" fmla="*/ 913076 w 5860123"/>
              <a:gd name="connsiteY1354" fmla="*/ 3224606 h 4856353"/>
              <a:gd name="connsiteX1355" fmla="*/ 903551 w 5860123"/>
              <a:gd name="connsiteY1355" fmla="*/ 3218890 h 4856353"/>
              <a:gd name="connsiteX1356" fmla="*/ 902599 w 5860123"/>
              <a:gd name="connsiteY1356" fmla="*/ 3207461 h 4856353"/>
              <a:gd name="connsiteX1357" fmla="*/ 904504 w 5860123"/>
              <a:gd name="connsiteY1357" fmla="*/ 3194125 h 4856353"/>
              <a:gd name="connsiteX1358" fmla="*/ 899741 w 5860123"/>
              <a:gd name="connsiteY1358" fmla="*/ 3193173 h 4856353"/>
              <a:gd name="connsiteX1359" fmla="*/ 893074 w 5860123"/>
              <a:gd name="connsiteY1359" fmla="*/ 3196983 h 4856353"/>
              <a:gd name="connsiteX1360" fmla="*/ 888311 w 5860123"/>
              <a:gd name="connsiteY1360" fmla="*/ 3209365 h 4856353"/>
              <a:gd name="connsiteX1361" fmla="*/ 886406 w 5860123"/>
              <a:gd name="connsiteY1361" fmla="*/ 3218890 h 4856353"/>
              <a:gd name="connsiteX1362" fmla="*/ 869261 w 5860123"/>
              <a:gd name="connsiteY1362" fmla="*/ 3217938 h 4856353"/>
              <a:gd name="connsiteX1363" fmla="*/ 873071 w 5860123"/>
              <a:gd name="connsiteY1363" fmla="*/ 3204603 h 4856353"/>
              <a:gd name="connsiteX1364" fmla="*/ 867356 w 5860123"/>
              <a:gd name="connsiteY1364" fmla="*/ 3197936 h 4856353"/>
              <a:gd name="connsiteX1365" fmla="*/ 861641 w 5860123"/>
              <a:gd name="connsiteY1365" fmla="*/ 3181743 h 4856353"/>
              <a:gd name="connsiteX1366" fmla="*/ 854974 w 5860123"/>
              <a:gd name="connsiteY1366" fmla="*/ 3171265 h 4856353"/>
              <a:gd name="connsiteX1367" fmla="*/ 854974 w 5860123"/>
              <a:gd name="connsiteY1367" fmla="*/ 3165550 h 4856353"/>
              <a:gd name="connsiteX1368" fmla="*/ 855926 w 5860123"/>
              <a:gd name="connsiteY1368" fmla="*/ 3153168 h 4856353"/>
              <a:gd name="connsiteX1369" fmla="*/ 848306 w 5860123"/>
              <a:gd name="connsiteY1369" fmla="*/ 3156025 h 4856353"/>
              <a:gd name="connsiteX1370" fmla="*/ 837829 w 5860123"/>
              <a:gd name="connsiteY1370" fmla="*/ 3157931 h 4856353"/>
              <a:gd name="connsiteX1371" fmla="*/ 821636 w 5860123"/>
              <a:gd name="connsiteY1371" fmla="*/ 3150311 h 4856353"/>
              <a:gd name="connsiteX1372" fmla="*/ 805444 w 5860123"/>
              <a:gd name="connsiteY1372" fmla="*/ 3147453 h 4856353"/>
              <a:gd name="connsiteX1373" fmla="*/ 793061 w 5860123"/>
              <a:gd name="connsiteY1373" fmla="*/ 3139833 h 4856353"/>
              <a:gd name="connsiteX1374" fmla="*/ 789251 w 5860123"/>
              <a:gd name="connsiteY1374" fmla="*/ 3129356 h 4856353"/>
              <a:gd name="connsiteX1375" fmla="*/ 790204 w 5860123"/>
              <a:gd name="connsiteY1375" fmla="*/ 3124593 h 4856353"/>
              <a:gd name="connsiteX1376" fmla="*/ 798776 w 5860123"/>
              <a:gd name="connsiteY1376" fmla="*/ 3115068 h 4856353"/>
              <a:gd name="connsiteX1377" fmla="*/ 804491 w 5860123"/>
              <a:gd name="connsiteY1377" fmla="*/ 3099828 h 4856353"/>
              <a:gd name="connsiteX1378" fmla="*/ 797824 w 5860123"/>
              <a:gd name="connsiteY1378" fmla="*/ 3092208 h 4856353"/>
              <a:gd name="connsiteX1379" fmla="*/ 784489 w 5860123"/>
              <a:gd name="connsiteY1379" fmla="*/ 3096018 h 4856353"/>
              <a:gd name="connsiteX1380" fmla="*/ 781631 w 5860123"/>
              <a:gd name="connsiteY1380" fmla="*/ 3098875 h 4856353"/>
              <a:gd name="connsiteX1381" fmla="*/ 771154 w 5860123"/>
              <a:gd name="connsiteY1381" fmla="*/ 3098875 h 4856353"/>
              <a:gd name="connsiteX1382" fmla="*/ 762581 w 5860123"/>
              <a:gd name="connsiteY1382" fmla="*/ 3095065 h 4856353"/>
              <a:gd name="connsiteX1383" fmla="*/ 758771 w 5860123"/>
              <a:gd name="connsiteY1383" fmla="*/ 3092208 h 4856353"/>
              <a:gd name="connsiteX1384" fmla="*/ 753056 w 5860123"/>
              <a:gd name="connsiteY1384" fmla="*/ 3081731 h 4856353"/>
              <a:gd name="connsiteX1385" fmla="*/ 745436 w 5860123"/>
              <a:gd name="connsiteY1385" fmla="*/ 3072206 h 4856353"/>
              <a:gd name="connsiteX1386" fmla="*/ 733054 w 5860123"/>
              <a:gd name="connsiteY1386" fmla="*/ 3065538 h 4856353"/>
              <a:gd name="connsiteX1387" fmla="*/ 726386 w 5860123"/>
              <a:gd name="connsiteY1387" fmla="*/ 3059823 h 4856353"/>
              <a:gd name="connsiteX1388" fmla="*/ 726386 w 5860123"/>
              <a:gd name="connsiteY1388" fmla="*/ 3053156 h 4856353"/>
              <a:gd name="connsiteX1389" fmla="*/ 718766 w 5860123"/>
              <a:gd name="connsiteY1389" fmla="*/ 3044583 h 4856353"/>
              <a:gd name="connsiteX1390" fmla="*/ 708289 w 5860123"/>
              <a:gd name="connsiteY1390" fmla="*/ 3036011 h 4856353"/>
              <a:gd name="connsiteX1391" fmla="*/ 711146 w 5860123"/>
              <a:gd name="connsiteY1391" fmla="*/ 3027438 h 4856353"/>
              <a:gd name="connsiteX1392" fmla="*/ 712099 w 5860123"/>
              <a:gd name="connsiteY1392" fmla="*/ 3017913 h 4856353"/>
              <a:gd name="connsiteX1393" fmla="*/ 709241 w 5860123"/>
              <a:gd name="connsiteY1393" fmla="*/ 3007436 h 4856353"/>
              <a:gd name="connsiteX1394" fmla="*/ 712099 w 5860123"/>
              <a:gd name="connsiteY1394" fmla="*/ 2994100 h 4856353"/>
              <a:gd name="connsiteX1395" fmla="*/ 712099 w 5860123"/>
              <a:gd name="connsiteY1395" fmla="*/ 2989338 h 4856353"/>
              <a:gd name="connsiteX1396" fmla="*/ 705431 w 5860123"/>
              <a:gd name="connsiteY1396" fmla="*/ 2982671 h 4856353"/>
              <a:gd name="connsiteX1397" fmla="*/ 698764 w 5860123"/>
              <a:gd name="connsiteY1397" fmla="*/ 2978861 h 4856353"/>
              <a:gd name="connsiteX1398" fmla="*/ 690191 w 5860123"/>
              <a:gd name="connsiteY1398" fmla="*/ 2974098 h 4856353"/>
              <a:gd name="connsiteX1399" fmla="*/ 674951 w 5860123"/>
              <a:gd name="connsiteY1399" fmla="*/ 2976956 h 4856353"/>
              <a:gd name="connsiteX1400" fmla="*/ 663521 w 5860123"/>
              <a:gd name="connsiteY1400" fmla="*/ 2977908 h 4856353"/>
              <a:gd name="connsiteX1401" fmla="*/ 650186 w 5860123"/>
              <a:gd name="connsiteY1401" fmla="*/ 2982671 h 4856353"/>
              <a:gd name="connsiteX1402" fmla="*/ 642566 w 5860123"/>
              <a:gd name="connsiteY1402" fmla="*/ 2976956 h 4856353"/>
              <a:gd name="connsiteX1403" fmla="*/ 634946 w 5860123"/>
              <a:gd name="connsiteY1403" fmla="*/ 2961715 h 4856353"/>
              <a:gd name="connsiteX1404" fmla="*/ 633041 w 5860123"/>
              <a:gd name="connsiteY1404" fmla="*/ 2950286 h 4856353"/>
              <a:gd name="connsiteX1405" fmla="*/ 632089 w 5860123"/>
              <a:gd name="connsiteY1405" fmla="*/ 2943618 h 4856353"/>
              <a:gd name="connsiteX1406" fmla="*/ 624469 w 5860123"/>
              <a:gd name="connsiteY1406" fmla="*/ 2929331 h 4856353"/>
              <a:gd name="connsiteX1407" fmla="*/ 621611 w 5860123"/>
              <a:gd name="connsiteY1407" fmla="*/ 2916948 h 4856353"/>
              <a:gd name="connsiteX1408" fmla="*/ 610181 w 5860123"/>
              <a:gd name="connsiteY1408" fmla="*/ 2911233 h 4856353"/>
              <a:gd name="connsiteX1409" fmla="*/ 605419 w 5860123"/>
              <a:gd name="connsiteY1409" fmla="*/ 2909328 h 4856353"/>
              <a:gd name="connsiteX1410" fmla="*/ 598751 w 5860123"/>
              <a:gd name="connsiteY1410" fmla="*/ 2900756 h 4856353"/>
              <a:gd name="connsiteX1411" fmla="*/ 584464 w 5860123"/>
              <a:gd name="connsiteY1411" fmla="*/ 2893136 h 4856353"/>
              <a:gd name="connsiteX1412" fmla="*/ 580654 w 5860123"/>
              <a:gd name="connsiteY1412" fmla="*/ 2891231 h 4856353"/>
              <a:gd name="connsiteX1413" fmla="*/ 575891 w 5860123"/>
              <a:gd name="connsiteY1413" fmla="*/ 2885515 h 4856353"/>
              <a:gd name="connsiteX1414" fmla="*/ 566366 w 5860123"/>
              <a:gd name="connsiteY1414" fmla="*/ 2878848 h 4856353"/>
              <a:gd name="connsiteX1415" fmla="*/ 571129 w 5860123"/>
              <a:gd name="connsiteY1415" fmla="*/ 2873133 h 4856353"/>
              <a:gd name="connsiteX1416" fmla="*/ 568271 w 5860123"/>
              <a:gd name="connsiteY1416" fmla="*/ 2867418 h 4856353"/>
              <a:gd name="connsiteX1417" fmla="*/ 561604 w 5860123"/>
              <a:gd name="connsiteY1417" fmla="*/ 2863608 h 4856353"/>
              <a:gd name="connsiteX1418" fmla="*/ 561604 w 5860123"/>
              <a:gd name="connsiteY1418" fmla="*/ 2857893 h 4856353"/>
              <a:gd name="connsiteX1419" fmla="*/ 553031 w 5860123"/>
              <a:gd name="connsiteY1419" fmla="*/ 2845511 h 4856353"/>
              <a:gd name="connsiteX1420" fmla="*/ 542554 w 5860123"/>
              <a:gd name="connsiteY1420" fmla="*/ 2835986 h 4856353"/>
              <a:gd name="connsiteX1421" fmla="*/ 538744 w 5860123"/>
              <a:gd name="connsiteY1421" fmla="*/ 2834081 h 4856353"/>
              <a:gd name="connsiteX1422" fmla="*/ 531124 w 5860123"/>
              <a:gd name="connsiteY1422" fmla="*/ 2828365 h 4856353"/>
              <a:gd name="connsiteX1423" fmla="*/ 526361 w 5860123"/>
              <a:gd name="connsiteY1423" fmla="*/ 2825508 h 4856353"/>
              <a:gd name="connsiteX1424" fmla="*/ 523504 w 5860123"/>
              <a:gd name="connsiteY1424" fmla="*/ 2815031 h 4856353"/>
              <a:gd name="connsiteX1425" fmla="*/ 516836 w 5860123"/>
              <a:gd name="connsiteY1425" fmla="*/ 2801696 h 4856353"/>
              <a:gd name="connsiteX1426" fmla="*/ 520646 w 5860123"/>
              <a:gd name="connsiteY1426" fmla="*/ 2786456 h 4856353"/>
              <a:gd name="connsiteX1427" fmla="*/ 511121 w 5860123"/>
              <a:gd name="connsiteY1427" fmla="*/ 2781693 h 4856353"/>
              <a:gd name="connsiteX1428" fmla="*/ 505406 w 5860123"/>
              <a:gd name="connsiteY1428" fmla="*/ 2780740 h 4856353"/>
              <a:gd name="connsiteX1429" fmla="*/ 496834 w 5860123"/>
              <a:gd name="connsiteY1429" fmla="*/ 2773121 h 4856353"/>
              <a:gd name="connsiteX1430" fmla="*/ 487309 w 5860123"/>
              <a:gd name="connsiteY1430" fmla="*/ 2768358 h 4856353"/>
              <a:gd name="connsiteX1431" fmla="*/ 480641 w 5860123"/>
              <a:gd name="connsiteY1431" fmla="*/ 2762643 h 4856353"/>
              <a:gd name="connsiteX1432" fmla="*/ 473021 w 5860123"/>
              <a:gd name="connsiteY1432" fmla="*/ 2755975 h 4856353"/>
              <a:gd name="connsiteX1433" fmla="*/ 467306 w 5860123"/>
              <a:gd name="connsiteY1433" fmla="*/ 2756928 h 4856353"/>
              <a:gd name="connsiteX1434" fmla="*/ 463496 w 5860123"/>
              <a:gd name="connsiteY1434" fmla="*/ 2757881 h 4856353"/>
              <a:gd name="connsiteX1435" fmla="*/ 459686 w 5860123"/>
              <a:gd name="connsiteY1435" fmla="*/ 2760738 h 4856353"/>
              <a:gd name="connsiteX1436" fmla="*/ 451114 w 5860123"/>
              <a:gd name="connsiteY1436" fmla="*/ 2752165 h 4856353"/>
              <a:gd name="connsiteX1437" fmla="*/ 446351 w 5860123"/>
              <a:gd name="connsiteY1437" fmla="*/ 2753118 h 4856353"/>
              <a:gd name="connsiteX1438" fmla="*/ 443494 w 5860123"/>
              <a:gd name="connsiteY1438" fmla="*/ 2764548 h 4856353"/>
              <a:gd name="connsiteX1439" fmla="*/ 438731 w 5860123"/>
              <a:gd name="connsiteY1439" fmla="*/ 2774073 h 4856353"/>
              <a:gd name="connsiteX1440" fmla="*/ 430159 w 5860123"/>
              <a:gd name="connsiteY1440" fmla="*/ 2783598 h 4856353"/>
              <a:gd name="connsiteX1441" fmla="*/ 424444 w 5860123"/>
              <a:gd name="connsiteY1441" fmla="*/ 2778836 h 4856353"/>
              <a:gd name="connsiteX1442" fmla="*/ 420634 w 5860123"/>
              <a:gd name="connsiteY1442" fmla="*/ 2782646 h 4856353"/>
              <a:gd name="connsiteX1443" fmla="*/ 422539 w 5860123"/>
              <a:gd name="connsiteY1443" fmla="*/ 2792171 h 4856353"/>
              <a:gd name="connsiteX1444" fmla="*/ 402536 w 5860123"/>
              <a:gd name="connsiteY1444" fmla="*/ 2791218 h 4856353"/>
              <a:gd name="connsiteX1445" fmla="*/ 399679 w 5860123"/>
              <a:gd name="connsiteY1445" fmla="*/ 2782646 h 4856353"/>
              <a:gd name="connsiteX1446" fmla="*/ 400631 w 5860123"/>
              <a:gd name="connsiteY1446" fmla="*/ 2766453 h 4856353"/>
              <a:gd name="connsiteX1447" fmla="*/ 383486 w 5860123"/>
              <a:gd name="connsiteY1447" fmla="*/ 2746450 h 4856353"/>
              <a:gd name="connsiteX1448" fmla="*/ 381581 w 5860123"/>
              <a:gd name="connsiteY1448" fmla="*/ 2744546 h 4856353"/>
              <a:gd name="connsiteX1449" fmla="*/ 371104 w 5860123"/>
              <a:gd name="connsiteY1449" fmla="*/ 2732163 h 4856353"/>
              <a:gd name="connsiteX1450" fmla="*/ 367294 w 5860123"/>
              <a:gd name="connsiteY1450" fmla="*/ 2728353 h 4856353"/>
              <a:gd name="connsiteX1451" fmla="*/ 361579 w 5860123"/>
              <a:gd name="connsiteY1451" fmla="*/ 2717875 h 4856353"/>
              <a:gd name="connsiteX1452" fmla="*/ 352054 w 5860123"/>
              <a:gd name="connsiteY1452" fmla="*/ 2715018 h 4856353"/>
              <a:gd name="connsiteX1453" fmla="*/ 343481 w 5860123"/>
              <a:gd name="connsiteY1453" fmla="*/ 2705493 h 4856353"/>
              <a:gd name="connsiteX1454" fmla="*/ 336814 w 5860123"/>
              <a:gd name="connsiteY1454" fmla="*/ 2700731 h 4856353"/>
              <a:gd name="connsiteX1455" fmla="*/ 334909 w 5860123"/>
              <a:gd name="connsiteY1455" fmla="*/ 2698825 h 4856353"/>
              <a:gd name="connsiteX1456" fmla="*/ 329194 w 5860123"/>
              <a:gd name="connsiteY1456" fmla="*/ 2690253 h 4856353"/>
              <a:gd name="connsiteX1457" fmla="*/ 313001 w 5860123"/>
              <a:gd name="connsiteY1457" fmla="*/ 2683586 h 4856353"/>
              <a:gd name="connsiteX1458" fmla="*/ 308239 w 5860123"/>
              <a:gd name="connsiteY1458" fmla="*/ 2677871 h 4856353"/>
              <a:gd name="connsiteX1459" fmla="*/ 305381 w 5860123"/>
              <a:gd name="connsiteY1459" fmla="*/ 2670250 h 4856353"/>
              <a:gd name="connsiteX1460" fmla="*/ 304429 w 5860123"/>
              <a:gd name="connsiteY1460" fmla="*/ 2660725 h 4856353"/>
              <a:gd name="connsiteX1461" fmla="*/ 304429 w 5860123"/>
              <a:gd name="connsiteY1461" fmla="*/ 2658821 h 4856353"/>
              <a:gd name="connsiteX1462" fmla="*/ 303476 w 5860123"/>
              <a:gd name="connsiteY1462" fmla="*/ 2652153 h 4856353"/>
              <a:gd name="connsiteX1463" fmla="*/ 299666 w 5860123"/>
              <a:gd name="connsiteY1463" fmla="*/ 2645486 h 4856353"/>
              <a:gd name="connsiteX1464" fmla="*/ 295856 w 5860123"/>
              <a:gd name="connsiteY1464" fmla="*/ 2635008 h 4856353"/>
              <a:gd name="connsiteX1465" fmla="*/ 292046 w 5860123"/>
              <a:gd name="connsiteY1465" fmla="*/ 2626436 h 4856353"/>
              <a:gd name="connsiteX1466" fmla="*/ 284426 w 5860123"/>
              <a:gd name="connsiteY1466" fmla="*/ 2618815 h 4856353"/>
              <a:gd name="connsiteX1467" fmla="*/ 271091 w 5860123"/>
              <a:gd name="connsiteY1467" fmla="*/ 2616911 h 4856353"/>
              <a:gd name="connsiteX1468" fmla="*/ 265376 w 5860123"/>
              <a:gd name="connsiteY1468" fmla="*/ 2608338 h 4856353"/>
              <a:gd name="connsiteX1469" fmla="*/ 254899 w 5860123"/>
              <a:gd name="connsiteY1469" fmla="*/ 2598813 h 4856353"/>
              <a:gd name="connsiteX1470" fmla="*/ 247279 w 5860123"/>
              <a:gd name="connsiteY1470" fmla="*/ 2604528 h 4856353"/>
              <a:gd name="connsiteX1471" fmla="*/ 241564 w 5860123"/>
              <a:gd name="connsiteY1471" fmla="*/ 2606433 h 4856353"/>
              <a:gd name="connsiteX1472" fmla="*/ 234896 w 5860123"/>
              <a:gd name="connsiteY1472" fmla="*/ 2599765 h 4856353"/>
              <a:gd name="connsiteX1473" fmla="*/ 228229 w 5860123"/>
              <a:gd name="connsiteY1473" fmla="*/ 2595003 h 4856353"/>
              <a:gd name="connsiteX1474" fmla="*/ 215846 w 5860123"/>
              <a:gd name="connsiteY1474" fmla="*/ 2583573 h 4856353"/>
              <a:gd name="connsiteX1475" fmla="*/ 214894 w 5860123"/>
              <a:gd name="connsiteY1475" fmla="*/ 2570238 h 4856353"/>
              <a:gd name="connsiteX1476" fmla="*/ 212989 w 5860123"/>
              <a:gd name="connsiteY1476" fmla="*/ 2554998 h 4856353"/>
              <a:gd name="connsiteX1477" fmla="*/ 212036 w 5860123"/>
              <a:gd name="connsiteY1477" fmla="*/ 2550236 h 4856353"/>
              <a:gd name="connsiteX1478" fmla="*/ 211084 w 5860123"/>
              <a:gd name="connsiteY1478" fmla="*/ 2547378 h 4856353"/>
              <a:gd name="connsiteX1479" fmla="*/ 207274 w 5860123"/>
              <a:gd name="connsiteY1479" fmla="*/ 2546425 h 4856353"/>
              <a:gd name="connsiteX1480" fmla="*/ 201559 w 5860123"/>
              <a:gd name="connsiteY1480" fmla="*/ 2542615 h 4856353"/>
              <a:gd name="connsiteX1481" fmla="*/ 206321 w 5860123"/>
              <a:gd name="connsiteY1481" fmla="*/ 2530233 h 4856353"/>
              <a:gd name="connsiteX1482" fmla="*/ 206321 w 5860123"/>
              <a:gd name="connsiteY1482" fmla="*/ 2524518 h 4856353"/>
              <a:gd name="connsiteX1483" fmla="*/ 204416 w 5860123"/>
              <a:gd name="connsiteY1483" fmla="*/ 2518803 h 4856353"/>
              <a:gd name="connsiteX1484" fmla="*/ 215846 w 5860123"/>
              <a:gd name="connsiteY1484" fmla="*/ 2512136 h 4856353"/>
              <a:gd name="connsiteX1485" fmla="*/ 219656 w 5860123"/>
              <a:gd name="connsiteY1485" fmla="*/ 2504515 h 4856353"/>
              <a:gd name="connsiteX1486" fmla="*/ 217751 w 5860123"/>
              <a:gd name="connsiteY1486" fmla="*/ 2498800 h 4856353"/>
              <a:gd name="connsiteX1487" fmla="*/ 213941 w 5860123"/>
              <a:gd name="connsiteY1487" fmla="*/ 2490228 h 4856353"/>
              <a:gd name="connsiteX1488" fmla="*/ 212036 w 5860123"/>
              <a:gd name="connsiteY1488" fmla="*/ 2478798 h 4856353"/>
              <a:gd name="connsiteX1489" fmla="*/ 218704 w 5860123"/>
              <a:gd name="connsiteY1489" fmla="*/ 2469273 h 4856353"/>
              <a:gd name="connsiteX1490" fmla="*/ 223466 w 5860123"/>
              <a:gd name="connsiteY1490" fmla="*/ 2460700 h 4856353"/>
              <a:gd name="connsiteX1491" fmla="*/ 221561 w 5860123"/>
              <a:gd name="connsiteY1491" fmla="*/ 2459748 h 4856353"/>
              <a:gd name="connsiteX1492" fmla="*/ 213941 w 5860123"/>
              <a:gd name="connsiteY1492" fmla="*/ 2452128 h 4856353"/>
              <a:gd name="connsiteX1493" fmla="*/ 210131 w 5860123"/>
              <a:gd name="connsiteY1493" fmla="*/ 2441650 h 4856353"/>
              <a:gd name="connsiteX1494" fmla="*/ 206321 w 5860123"/>
              <a:gd name="connsiteY1494" fmla="*/ 2435936 h 4856353"/>
              <a:gd name="connsiteX1495" fmla="*/ 201559 w 5860123"/>
              <a:gd name="connsiteY1495" fmla="*/ 2428315 h 4856353"/>
              <a:gd name="connsiteX1496" fmla="*/ 205369 w 5860123"/>
              <a:gd name="connsiteY1496" fmla="*/ 2416885 h 4856353"/>
              <a:gd name="connsiteX1497" fmla="*/ 211084 w 5860123"/>
              <a:gd name="connsiteY1497" fmla="*/ 2406408 h 4856353"/>
              <a:gd name="connsiteX1498" fmla="*/ 212989 w 5860123"/>
              <a:gd name="connsiteY1498" fmla="*/ 2393073 h 4856353"/>
              <a:gd name="connsiteX1499" fmla="*/ 212036 w 5860123"/>
              <a:gd name="connsiteY1499" fmla="*/ 2386406 h 4856353"/>
              <a:gd name="connsiteX1500" fmla="*/ 213941 w 5860123"/>
              <a:gd name="connsiteY1500" fmla="*/ 2375928 h 4856353"/>
              <a:gd name="connsiteX1501" fmla="*/ 229181 w 5860123"/>
              <a:gd name="connsiteY1501" fmla="*/ 2371165 h 4856353"/>
              <a:gd name="connsiteX1502" fmla="*/ 234896 w 5860123"/>
              <a:gd name="connsiteY1502" fmla="*/ 2370213 h 4856353"/>
              <a:gd name="connsiteX1503" fmla="*/ 246326 w 5860123"/>
              <a:gd name="connsiteY1503" fmla="*/ 2367356 h 4856353"/>
              <a:gd name="connsiteX1504" fmla="*/ 253946 w 5860123"/>
              <a:gd name="connsiteY1504" fmla="*/ 2372118 h 4856353"/>
              <a:gd name="connsiteX1505" fmla="*/ 252994 w 5860123"/>
              <a:gd name="connsiteY1505" fmla="*/ 2378785 h 4856353"/>
              <a:gd name="connsiteX1506" fmla="*/ 250136 w 5860123"/>
              <a:gd name="connsiteY1506" fmla="*/ 2387358 h 4856353"/>
              <a:gd name="connsiteX1507" fmla="*/ 249184 w 5860123"/>
              <a:gd name="connsiteY1507" fmla="*/ 2399740 h 4856353"/>
              <a:gd name="connsiteX1508" fmla="*/ 252994 w 5860123"/>
              <a:gd name="connsiteY1508" fmla="*/ 2406408 h 4856353"/>
              <a:gd name="connsiteX1509" fmla="*/ 259661 w 5860123"/>
              <a:gd name="connsiteY1509" fmla="*/ 2414028 h 4856353"/>
              <a:gd name="connsiteX1510" fmla="*/ 271091 w 5860123"/>
              <a:gd name="connsiteY1510" fmla="*/ 2418790 h 4856353"/>
              <a:gd name="connsiteX1511" fmla="*/ 283474 w 5860123"/>
              <a:gd name="connsiteY1511" fmla="*/ 2414981 h 4856353"/>
              <a:gd name="connsiteX1512" fmla="*/ 292999 w 5860123"/>
              <a:gd name="connsiteY1512" fmla="*/ 2410218 h 4856353"/>
              <a:gd name="connsiteX1513" fmla="*/ 298714 w 5860123"/>
              <a:gd name="connsiteY1513" fmla="*/ 2408313 h 4856353"/>
              <a:gd name="connsiteX1514" fmla="*/ 308239 w 5860123"/>
              <a:gd name="connsiteY1514" fmla="*/ 2400693 h 4856353"/>
              <a:gd name="connsiteX1515" fmla="*/ 310144 w 5860123"/>
              <a:gd name="connsiteY1515" fmla="*/ 2396883 h 4856353"/>
              <a:gd name="connsiteX1516" fmla="*/ 312049 w 5860123"/>
              <a:gd name="connsiteY1516" fmla="*/ 2389263 h 4856353"/>
              <a:gd name="connsiteX1517" fmla="*/ 313954 w 5860123"/>
              <a:gd name="connsiteY1517" fmla="*/ 2377833 h 4856353"/>
              <a:gd name="connsiteX1518" fmla="*/ 312049 w 5860123"/>
              <a:gd name="connsiteY1518" fmla="*/ 2370213 h 4856353"/>
              <a:gd name="connsiteX1519" fmla="*/ 314906 w 5860123"/>
              <a:gd name="connsiteY1519" fmla="*/ 2359735 h 4856353"/>
              <a:gd name="connsiteX1520" fmla="*/ 314906 w 5860123"/>
              <a:gd name="connsiteY1520" fmla="*/ 2354021 h 4856353"/>
              <a:gd name="connsiteX1521" fmla="*/ 316811 w 5860123"/>
              <a:gd name="connsiteY1521" fmla="*/ 2349258 h 4856353"/>
              <a:gd name="connsiteX1522" fmla="*/ 313954 w 5860123"/>
              <a:gd name="connsiteY1522" fmla="*/ 2338781 h 4856353"/>
              <a:gd name="connsiteX1523" fmla="*/ 305381 w 5860123"/>
              <a:gd name="connsiteY1523" fmla="*/ 2324493 h 4856353"/>
              <a:gd name="connsiteX1524" fmla="*/ 307286 w 5860123"/>
              <a:gd name="connsiteY1524" fmla="*/ 2320683 h 4856353"/>
              <a:gd name="connsiteX1525" fmla="*/ 306334 w 5860123"/>
              <a:gd name="connsiteY1525" fmla="*/ 2311158 h 4856353"/>
              <a:gd name="connsiteX1526" fmla="*/ 303476 w 5860123"/>
              <a:gd name="connsiteY1526" fmla="*/ 2301633 h 4856353"/>
              <a:gd name="connsiteX1527" fmla="*/ 301571 w 5860123"/>
              <a:gd name="connsiteY1527" fmla="*/ 2294013 h 4856353"/>
              <a:gd name="connsiteX1528" fmla="*/ 295856 w 5860123"/>
              <a:gd name="connsiteY1528" fmla="*/ 2282583 h 4856353"/>
              <a:gd name="connsiteX1529" fmla="*/ 289189 w 5860123"/>
              <a:gd name="connsiteY1529" fmla="*/ 2270201 h 4856353"/>
              <a:gd name="connsiteX1530" fmla="*/ 287284 w 5860123"/>
              <a:gd name="connsiteY1530" fmla="*/ 2263533 h 4856353"/>
              <a:gd name="connsiteX1531" fmla="*/ 285379 w 5860123"/>
              <a:gd name="connsiteY1531" fmla="*/ 2256865 h 4856353"/>
              <a:gd name="connsiteX1532" fmla="*/ 285379 w 5860123"/>
              <a:gd name="connsiteY1532" fmla="*/ 2242578 h 4856353"/>
              <a:gd name="connsiteX1533" fmla="*/ 285379 w 5860123"/>
              <a:gd name="connsiteY1533" fmla="*/ 2234958 h 4856353"/>
              <a:gd name="connsiteX1534" fmla="*/ 294904 w 5860123"/>
              <a:gd name="connsiteY1534" fmla="*/ 2228290 h 4856353"/>
              <a:gd name="connsiteX1535" fmla="*/ 297761 w 5860123"/>
              <a:gd name="connsiteY1535" fmla="*/ 2214956 h 4856353"/>
              <a:gd name="connsiteX1536" fmla="*/ 299666 w 5860123"/>
              <a:gd name="connsiteY1536" fmla="*/ 2206383 h 4856353"/>
              <a:gd name="connsiteX1537" fmla="*/ 299666 w 5860123"/>
              <a:gd name="connsiteY1537" fmla="*/ 2194001 h 4856353"/>
              <a:gd name="connsiteX1538" fmla="*/ 296809 w 5860123"/>
              <a:gd name="connsiteY1538" fmla="*/ 2190190 h 4856353"/>
              <a:gd name="connsiteX1539" fmla="*/ 296809 w 5860123"/>
              <a:gd name="connsiteY1539" fmla="*/ 2183523 h 4856353"/>
              <a:gd name="connsiteX1540" fmla="*/ 301571 w 5860123"/>
              <a:gd name="connsiteY1540" fmla="*/ 2180665 h 4856353"/>
              <a:gd name="connsiteX1541" fmla="*/ 312049 w 5860123"/>
              <a:gd name="connsiteY1541" fmla="*/ 2179713 h 4856353"/>
              <a:gd name="connsiteX1542" fmla="*/ 324431 w 5860123"/>
              <a:gd name="connsiteY1542" fmla="*/ 2177808 h 4856353"/>
              <a:gd name="connsiteX1543" fmla="*/ 333956 w 5860123"/>
              <a:gd name="connsiteY1543" fmla="*/ 2170188 h 4856353"/>
              <a:gd name="connsiteX1544" fmla="*/ 337766 w 5860123"/>
              <a:gd name="connsiteY1544" fmla="*/ 2163521 h 4856353"/>
              <a:gd name="connsiteX1545" fmla="*/ 342529 w 5860123"/>
              <a:gd name="connsiteY1545" fmla="*/ 2160663 h 4856353"/>
              <a:gd name="connsiteX1546" fmla="*/ 344434 w 5860123"/>
              <a:gd name="connsiteY1546" fmla="*/ 2153996 h 4856353"/>
              <a:gd name="connsiteX1547" fmla="*/ 337766 w 5860123"/>
              <a:gd name="connsiteY1547" fmla="*/ 2149233 h 4856353"/>
              <a:gd name="connsiteX1548" fmla="*/ 329194 w 5860123"/>
              <a:gd name="connsiteY1548" fmla="*/ 2140660 h 4856353"/>
              <a:gd name="connsiteX1549" fmla="*/ 327289 w 5860123"/>
              <a:gd name="connsiteY1549" fmla="*/ 2136851 h 4856353"/>
              <a:gd name="connsiteX1550" fmla="*/ 321574 w 5860123"/>
              <a:gd name="connsiteY1550" fmla="*/ 2130183 h 4856353"/>
              <a:gd name="connsiteX1551" fmla="*/ 314906 w 5860123"/>
              <a:gd name="connsiteY1551" fmla="*/ 2121610 h 4856353"/>
              <a:gd name="connsiteX1552" fmla="*/ 309191 w 5860123"/>
              <a:gd name="connsiteY1552" fmla="*/ 2121610 h 4856353"/>
              <a:gd name="connsiteX1553" fmla="*/ 304429 w 5860123"/>
              <a:gd name="connsiteY1553" fmla="*/ 2117801 h 4856353"/>
              <a:gd name="connsiteX1554" fmla="*/ 298714 w 5860123"/>
              <a:gd name="connsiteY1554" fmla="*/ 2111133 h 4856353"/>
              <a:gd name="connsiteX1555" fmla="*/ 292046 w 5860123"/>
              <a:gd name="connsiteY1555" fmla="*/ 2109228 h 4856353"/>
              <a:gd name="connsiteX1556" fmla="*/ 289189 w 5860123"/>
              <a:gd name="connsiteY1556" fmla="*/ 2104465 h 4856353"/>
              <a:gd name="connsiteX1557" fmla="*/ 284426 w 5860123"/>
              <a:gd name="connsiteY1557" fmla="*/ 2100656 h 4856353"/>
              <a:gd name="connsiteX1558" fmla="*/ 278711 w 5860123"/>
              <a:gd name="connsiteY1558" fmla="*/ 2085415 h 4856353"/>
              <a:gd name="connsiteX1559" fmla="*/ 277759 w 5860123"/>
              <a:gd name="connsiteY1559" fmla="*/ 2077795 h 4856353"/>
              <a:gd name="connsiteX1560" fmla="*/ 281569 w 5860123"/>
              <a:gd name="connsiteY1560" fmla="*/ 2070175 h 4856353"/>
              <a:gd name="connsiteX1561" fmla="*/ 282521 w 5860123"/>
              <a:gd name="connsiteY1561" fmla="*/ 2067318 h 4856353"/>
              <a:gd name="connsiteX1562" fmla="*/ 282521 w 5860123"/>
              <a:gd name="connsiteY1562" fmla="*/ 2059698 h 4856353"/>
              <a:gd name="connsiteX1563" fmla="*/ 282521 w 5860123"/>
              <a:gd name="connsiteY1563" fmla="*/ 2053030 h 4856353"/>
              <a:gd name="connsiteX1564" fmla="*/ 282521 w 5860123"/>
              <a:gd name="connsiteY1564" fmla="*/ 2040648 h 4856353"/>
              <a:gd name="connsiteX1565" fmla="*/ 283474 w 5860123"/>
              <a:gd name="connsiteY1565" fmla="*/ 2035885 h 4856353"/>
              <a:gd name="connsiteX1566" fmla="*/ 285379 w 5860123"/>
              <a:gd name="connsiteY1566" fmla="*/ 2032075 h 4856353"/>
              <a:gd name="connsiteX1567" fmla="*/ 283474 w 5860123"/>
              <a:gd name="connsiteY1567" fmla="*/ 2027313 h 4856353"/>
              <a:gd name="connsiteX1568" fmla="*/ 280616 w 5860123"/>
              <a:gd name="connsiteY1568" fmla="*/ 2024455 h 4856353"/>
              <a:gd name="connsiteX1569" fmla="*/ 280616 w 5860123"/>
              <a:gd name="connsiteY1569" fmla="*/ 2021598 h 4856353"/>
              <a:gd name="connsiteX1570" fmla="*/ 279664 w 5860123"/>
              <a:gd name="connsiteY1570" fmla="*/ 2005405 h 4856353"/>
              <a:gd name="connsiteX1571" fmla="*/ 280616 w 5860123"/>
              <a:gd name="connsiteY1571" fmla="*/ 1999690 h 4856353"/>
              <a:gd name="connsiteX1572" fmla="*/ 284426 w 5860123"/>
              <a:gd name="connsiteY1572" fmla="*/ 1991118 h 4856353"/>
              <a:gd name="connsiteX1573" fmla="*/ 292046 w 5860123"/>
              <a:gd name="connsiteY1573" fmla="*/ 1986355 h 4856353"/>
              <a:gd name="connsiteX1574" fmla="*/ 297761 w 5860123"/>
              <a:gd name="connsiteY1574" fmla="*/ 1981593 h 4856353"/>
              <a:gd name="connsiteX1575" fmla="*/ 292999 w 5860123"/>
              <a:gd name="connsiteY1575" fmla="*/ 1977783 h 4856353"/>
              <a:gd name="connsiteX1576" fmla="*/ 289189 w 5860123"/>
              <a:gd name="connsiteY1576" fmla="*/ 1976830 h 4856353"/>
              <a:gd name="connsiteX1577" fmla="*/ 283474 w 5860123"/>
              <a:gd name="connsiteY1577" fmla="*/ 1974925 h 4856353"/>
              <a:gd name="connsiteX1578" fmla="*/ 279664 w 5860123"/>
              <a:gd name="connsiteY1578" fmla="*/ 1973973 h 4856353"/>
              <a:gd name="connsiteX1579" fmla="*/ 271091 w 5860123"/>
              <a:gd name="connsiteY1579" fmla="*/ 1973020 h 4856353"/>
              <a:gd name="connsiteX1580" fmla="*/ 267281 w 5860123"/>
              <a:gd name="connsiteY1580" fmla="*/ 1969210 h 4856353"/>
              <a:gd name="connsiteX1581" fmla="*/ 265376 w 5860123"/>
              <a:gd name="connsiteY1581" fmla="*/ 1967305 h 4856353"/>
              <a:gd name="connsiteX1582" fmla="*/ 260614 w 5860123"/>
              <a:gd name="connsiteY1582" fmla="*/ 1966353 h 4856353"/>
              <a:gd name="connsiteX1583" fmla="*/ 252994 w 5860123"/>
              <a:gd name="connsiteY1583" fmla="*/ 1968258 h 4856353"/>
              <a:gd name="connsiteX1584" fmla="*/ 246326 w 5860123"/>
              <a:gd name="connsiteY1584" fmla="*/ 1963495 h 4856353"/>
              <a:gd name="connsiteX1585" fmla="*/ 236801 w 5860123"/>
              <a:gd name="connsiteY1585" fmla="*/ 1960638 h 4856353"/>
              <a:gd name="connsiteX1586" fmla="*/ 222514 w 5860123"/>
              <a:gd name="connsiteY1586" fmla="*/ 1953018 h 4856353"/>
              <a:gd name="connsiteX1587" fmla="*/ 213941 w 5860123"/>
              <a:gd name="connsiteY1587" fmla="*/ 1945398 h 4856353"/>
              <a:gd name="connsiteX1588" fmla="*/ 204416 w 5860123"/>
              <a:gd name="connsiteY1588" fmla="*/ 1942540 h 4856353"/>
              <a:gd name="connsiteX1589" fmla="*/ 196796 w 5860123"/>
              <a:gd name="connsiteY1589" fmla="*/ 1932063 h 4856353"/>
              <a:gd name="connsiteX1590" fmla="*/ 185366 w 5860123"/>
              <a:gd name="connsiteY1590" fmla="*/ 1926348 h 4856353"/>
              <a:gd name="connsiteX1591" fmla="*/ 174889 w 5860123"/>
              <a:gd name="connsiteY1591" fmla="*/ 1916823 h 4856353"/>
              <a:gd name="connsiteX1592" fmla="*/ 171079 w 5860123"/>
              <a:gd name="connsiteY1592" fmla="*/ 1913965 h 4856353"/>
              <a:gd name="connsiteX1593" fmla="*/ 167269 w 5860123"/>
              <a:gd name="connsiteY1593" fmla="*/ 1909203 h 4856353"/>
              <a:gd name="connsiteX1594" fmla="*/ 160601 w 5860123"/>
              <a:gd name="connsiteY1594" fmla="*/ 1896820 h 4856353"/>
              <a:gd name="connsiteX1595" fmla="*/ 155839 w 5860123"/>
              <a:gd name="connsiteY1595" fmla="*/ 1892058 h 4856353"/>
              <a:gd name="connsiteX1596" fmla="*/ 155839 w 5860123"/>
              <a:gd name="connsiteY1596" fmla="*/ 1883485 h 4856353"/>
              <a:gd name="connsiteX1597" fmla="*/ 160601 w 5860123"/>
              <a:gd name="connsiteY1597" fmla="*/ 1874913 h 4856353"/>
              <a:gd name="connsiteX1598" fmla="*/ 153934 w 5860123"/>
              <a:gd name="connsiteY1598" fmla="*/ 1873008 h 4856353"/>
              <a:gd name="connsiteX1599" fmla="*/ 143456 w 5860123"/>
              <a:gd name="connsiteY1599" fmla="*/ 1874913 h 4856353"/>
              <a:gd name="connsiteX1600" fmla="*/ 137741 w 5860123"/>
              <a:gd name="connsiteY1600" fmla="*/ 1878723 h 4856353"/>
              <a:gd name="connsiteX1601" fmla="*/ 125359 w 5860123"/>
              <a:gd name="connsiteY1601" fmla="*/ 1873960 h 4856353"/>
              <a:gd name="connsiteX1602" fmla="*/ 118691 w 5860123"/>
              <a:gd name="connsiteY1602" fmla="*/ 1872055 h 4856353"/>
              <a:gd name="connsiteX1603" fmla="*/ 114881 w 5860123"/>
              <a:gd name="connsiteY1603" fmla="*/ 1864435 h 4856353"/>
              <a:gd name="connsiteX1604" fmla="*/ 119644 w 5860123"/>
              <a:gd name="connsiteY1604" fmla="*/ 1853005 h 4856353"/>
              <a:gd name="connsiteX1605" fmla="*/ 118691 w 5860123"/>
              <a:gd name="connsiteY1605" fmla="*/ 1847290 h 4856353"/>
              <a:gd name="connsiteX1606" fmla="*/ 112976 w 5860123"/>
              <a:gd name="connsiteY1606" fmla="*/ 1841575 h 4856353"/>
              <a:gd name="connsiteX1607" fmla="*/ 105356 w 5860123"/>
              <a:gd name="connsiteY1607" fmla="*/ 1834908 h 4856353"/>
              <a:gd name="connsiteX1608" fmla="*/ 105356 w 5860123"/>
              <a:gd name="connsiteY1608" fmla="*/ 1833003 h 4856353"/>
              <a:gd name="connsiteX1609" fmla="*/ 106309 w 5860123"/>
              <a:gd name="connsiteY1609" fmla="*/ 1828240 h 4856353"/>
              <a:gd name="connsiteX1610" fmla="*/ 110119 w 5860123"/>
              <a:gd name="connsiteY1610" fmla="*/ 1822525 h 4856353"/>
              <a:gd name="connsiteX1611" fmla="*/ 115834 w 5860123"/>
              <a:gd name="connsiteY1611" fmla="*/ 1817763 h 4856353"/>
              <a:gd name="connsiteX1612" fmla="*/ 119644 w 5860123"/>
              <a:gd name="connsiteY1612" fmla="*/ 1813953 h 4856353"/>
              <a:gd name="connsiteX1613" fmla="*/ 123454 w 5860123"/>
              <a:gd name="connsiteY1613" fmla="*/ 1809190 h 4856353"/>
              <a:gd name="connsiteX1614" fmla="*/ 125359 w 5860123"/>
              <a:gd name="connsiteY1614" fmla="*/ 1794903 h 4856353"/>
              <a:gd name="connsiteX1615" fmla="*/ 130121 w 5860123"/>
              <a:gd name="connsiteY1615" fmla="*/ 1786330 h 4856353"/>
              <a:gd name="connsiteX1616" fmla="*/ 130121 w 5860123"/>
              <a:gd name="connsiteY1616" fmla="*/ 1780615 h 4856353"/>
              <a:gd name="connsiteX1617" fmla="*/ 127264 w 5860123"/>
              <a:gd name="connsiteY1617" fmla="*/ 1768233 h 4856353"/>
              <a:gd name="connsiteX1618" fmla="*/ 123454 w 5860123"/>
              <a:gd name="connsiteY1618" fmla="*/ 1753945 h 4856353"/>
              <a:gd name="connsiteX1619" fmla="*/ 118691 w 5860123"/>
              <a:gd name="connsiteY1619" fmla="*/ 1747278 h 4856353"/>
              <a:gd name="connsiteX1620" fmla="*/ 112976 w 5860123"/>
              <a:gd name="connsiteY1620" fmla="*/ 1735848 h 4856353"/>
              <a:gd name="connsiteX1621" fmla="*/ 107261 w 5860123"/>
              <a:gd name="connsiteY1621" fmla="*/ 1728228 h 4856353"/>
              <a:gd name="connsiteX1622" fmla="*/ 96784 w 5860123"/>
              <a:gd name="connsiteY1622" fmla="*/ 1726323 h 4856353"/>
              <a:gd name="connsiteX1623" fmla="*/ 89164 w 5860123"/>
              <a:gd name="connsiteY1623" fmla="*/ 1729180 h 4856353"/>
              <a:gd name="connsiteX1624" fmla="*/ 86306 w 5860123"/>
              <a:gd name="connsiteY1624" fmla="*/ 1721560 h 4856353"/>
              <a:gd name="connsiteX1625" fmla="*/ 88211 w 5860123"/>
              <a:gd name="connsiteY1625" fmla="*/ 1715845 h 4856353"/>
              <a:gd name="connsiteX1626" fmla="*/ 89164 w 5860123"/>
              <a:gd name="connsiteY1626" fmla="*/ 1708225 h 4856353"/>
              <a:gd name="connsiteX1627" fmla="*/ 89164 w 5860123"/>
              <a:gd name="connsiteY1627" fmla="*/ 1702510 h 4856353"/>
              <a:gd name="connsiteX1628" fmla="*/ 83449 w 5860123"/>
              <a:gd name="connsiteY1628" fmla="*/ 1694890 h 4856353"/>
              <a:gd name="connsiteX1629" fmla="*/ 71066 w 5860123"/>
              <a:gd name="connsiteY1629" fmla="*/ 1687270 h 4856353"/>
              <a:gd name="connsiteX1630" fmla="*/ 60589 w 5860123"/>
              <a:gd name="connsiteY1630" fmla="*/ 1679650 h 4856353"/>
              <a:gd name="connsiteX1631" fmla="*/ 53921 w 5860123"/>
              <a:gd name="connsiteY1631" fmla="*/ 1678698 h 4856353"/>
              <a:gd name="connsiteX1632" fmla="*/ 45349 w 5860123"/>
              <a:gd name="connsiteY1632" fmla="*/ 1676793 h 4856353"/>
              <a:gd name="connsiteX1633" fmla="*/ 39634 w 5860123"/>
              <a:gd name="connsiteY1633" fmla="*/ 1678698 h 4856353"/>
              <a:gd name="connsiteX1634" fmla="*/ 38681 w 5860123"/>
              <a:gd name="connsiteY1634" fmla="*/ 1669173 h 4856353"/>
              <a:gd name="connsiteX1635" fmla="*/ 29156 w 5860123"/>
              <a:gd name="connsiteY1635" fmla="*/ 1659648 h 4856353"/>
              <a:gd name="connsiteX1636" fmla="*/ 24394 w 5860123"/>
              <a:gd name="connsiteY1636" fmla="*/ 1655838 h 4856353"/>
              <a:gd name="connsiteX1637" fmla="*/ 16774 w 5860123"/>
              <a:gd name="connsiteY1637" fmla="*/ 1657743 h 4856353"/>
              <a:gd name="connsiteX1638" fmla="*/ 10106 w 5860123"/>
              <a:gd name="connsiteY1638" fmla="*/ 1651075 h 4856353"/>
              <a:gd name="connsiteX1639" fmla="*/ 9154 w 5860123"/>
              <a:gd name="connsiteY1639" fmla="*/ 1640598 h 4856353"/>
              <a:gd name="connsiteX1640" fmla="*/ 14869 w 5860123"/>
              <a:gd name="connsiteY1640" fmla="*/ 1628215 h 4856353"/>
              <a:gd name="connsiteX1641" fmla="*/ 32966 w 5860123"/>
              <a:gd name="connsiteY1641" fmla="*/ 1629168 h 4856353"/>
              <a:gd name="connsiteX1642" fmla="*/ 51064 w 5860123"/>
              <a:gd name="connsiteY1642" fmla="*/ 1637740 h 4856353"/>
              <a:gd name="connsiteX1643" fmla="*/ 57731 w 5860123"/>
              <a:gd name="connsiteY1643" fmla="*/ 1640598 h 4856353"/>
              <a:gd name="connsiteX1644" fmla="*/ 65351 w 5860123"/>
              <a:gd name="connsiteY1644" fmla="*/ 1643455 h 4856353"/>
              <a:gd name="connsiteX1645" fmla="*/ 78686 w 5860123"/>
              <a:gd name="connsiteY1645" fmla="*/ 1641550 h 4856353"/>
              <a:gd name="connsiteX1646" fmla="*/ 85354 w 5860123"/>
              <a:gd name="connsiteY1646" fmla="*/ 1626310 h 4856353"/>
              <a:gd name="connsiteX1647" fmla="*/ 74876 w 5860123"/>
              <a:gd name="connsiteY1647" fmla="*/ 1603450 h 4856353"/>
              <a:gd name="connsiteX1648" fmla="*/ 85354 w 5860123"/>
              <a:gd name="connsiteY1648" fmla="*/ 1581543 h 4856353"/>
              <a:gd name="connsiteX1649" fmla="*/ 87259 w 5860123"/>
              <a:gd name="connsiteY1649" fmla="*/ 1564398 h 4856353"/>
              <a:gd name="connsiteX1650" fmla="*/ 91069 w 5860123"/>
              <a:gd name="connsiteY1650" fmla="*/ 1550110 h 4856353"/>
              <a:gd name="connsiteX1651" fmla="*/ 90116 w 5860123"/>
              <a:gd name="connsiteY1651" fmla="*/ 1533918 h 4856353"/>
              <a:gd name="connsiteX1652" fmla="*/ 90116 w 5860123"/>
              <a:gd name="connsiteY1652" fmla="*/ 1514868 h 4856353"/>
              <a:gd name="connsiteX1653" fmla="*/ 102499 w 5860123"/>
              <a:gd name="connsiteY1653" fmla="*/ 1492008 h 4856353"/>
              <a:gd name="connsiteX1654" fmla="*/ 100594 w 5860123"/>
              <a:gd name="connsiteY1654" fmla="*/ 1474863 h 4856353"/>
              <a:gd name="connsiteX1655" fmla="*/ 90116 w 5860123"/>
              <a:gd name="connsiteY1655" fmla="*/ 1456765 h 4856353"/>
              <a:gd name="connsiteX1656" fmla="*/ 69161 w 5860123"/>
              <a:gd name="connsiteY1656" fmla="*/ 1443430 h 4856353"/>
              <a:gd name="connsiteX1657" fmla="*/ 67256 w 5860123"/>
              <a:gd name="connsiteY1657" fmla="*/ 1442478 h 4856353"/>
              <a:gd name="connsiteX1658" fmla="*/ 34871 w 5860123"/>
              <a:gd name="connsiteY1658" fmla="*/ 1442478 h 4856353"/>
              <a:gd name="connsiteX1659" fmla="*/ 21536 w 5860123"/>
              <a:gd name="connsiteY1659" fmla="*/ 1442478 h 4856353"/>
              <a:gd name="connsiteX1660" fmla="*/ 15821 w 5860123"/>
              <a:gd name="connsiteY1660" fmla="*/ 1435810 h 4856353"/>
              <a:gd name="connsiteX1661" fmla="*/ 12011 w 5860123"/>
              <a:gd name="connsiteY1661" fmla="*/ 1427238 h 4856353"/>
              <a:gd name="connsiteX1662" fmla="*/ 7249 w 5860123"/>
              <a:gd name="connsiteY1662" fmla="*/ 1419618 h 4856353"/>
              <a:gd name="connsiteX1663" fmla="*/ 1534 w 5860123"/>
              <a:gd name="connsiteY1663" fmla="*/ 1397710 h 4856353"/>
              <a:gd name="connsiteX1664" fmla="*/ 16774 w 5860123"/>
              <a:gd name="connsiteY1664" fmla="*/ 1386280 h 4856353"/>
              <a:gd name="connsiteX1665" fmla="*/ 29156 w 5860123"/>
              <a:gd name="connsiteY1665" fmla="*/ 1381518 h 4856353"/>
              <a:gd name="connsiteX1666" fmla="*/ 27251 w 5860123"/>
              <a:gd name="connsiteY1666" fmla="*/ 1371993 h 4856353"/>
              <a:gd name="connsiteX1667" fmla="*/ 21536 w 5860123"/>
              <a:gd name="connsiteY1667" fmla="*/ 1358658 h 4856353"/>
              <a:gd name="connsiteX1668" fmla="*/ 21536 w 5860123"/>
              <a:gd name="connsiteY1668" fmla="*/ 1347228 h 4856353"/>
              <a:gd name="connsiteX1669" fmla="*/ 20584 w 5860123"/>
              <a:gd name="connsiteY1669" fmla="*/ 1338655 h 4856353"/>
              <a:gd name="connsiteX1670" fmla="*/ 15821 w 5860123"/>
              <a:gd name="connsiteY1670" fmla="*/ 1330083 h 4856353"/>
              <a:gd name="connsiteX1671" fmla="*/ 14869 w 5860123"/>
              <a:gd name="connsiteY1671" fmla="*/ 1323415 h 4856353"/>
              <a:gd name="connsiteX1672" fmla="*/ 24394 w 5860123"/>
              <a:gd name="connsiteY1672" fmla="*/ 1313890 h 4856353"/>
              <a:gd name="connsiteX1673" fmla="*/ 35824 w 5860123"/>
              <a:gd name="connsiteY1673" fmla="*/ 1310080 h 4856353"/>
              <a:gd name="connsiteX1674" fmla="*/ 49159 w 5860123"/>
              <a:gd name="connsiteY1674" fmla="*/ 1313890 h 4856353"/>
              <a:gd name="connsiteX1675" fmla="*/ 55826 w 5860123"/>
              <a:gd name="connsiteY1675" fmla="*/ 1313890 h 4856353"/>
              <a:gd name="connsiteX1676" fmla="*/ 64399 w 5860123"/>
              <a:gd name="connsiteY1676" fmla="*/ 1308175 h 4856353"/>
              <a:gd name="connsiteX1677" fmla="*/ 72019 w 5860123"/>
              <a:gd name="connsiteY1677" fmla="*/ 1299603 h 4856353"/>
              <a:gd name="connsiteX1678" fmla="*/ 73924 w 5860123"/>
              <a:gd name="connsiteY1678" fmla="*/ 1286268 h 4856353"/>
              <a:gd name="connsiteX1679" fmla="*/ 72019 w 5860123"/>
              <a:gd name="connsiteY1679" fmla="*/ 1282458 h 4856353"/>
              <a:gd name="connsiteX1680" fmla="*/ 73924 w 5860123"/>
              <a:gd name="connsiteY1680" fmla="*/ 1273885 h 4856353"/>
              <a:gd name="connsiteX1681" fmla="*/ 83449 w 5860123"/>
              <a:gd name="connsiteY1681" fmla="*/ 1267218 h 4856353"/>
              <a:gd name="connsiteX1682" fmla="*/ 89164 w 5860123"/>
              <a:gd name="connsiteY1682" fmla="*/ 1261503 h 4856353"/>
              <a:gd name="connsiteX1683" fmla="*/ 93926 w 5860123"/>
              <a:gd name="connsiteY1683" fmla="*/ 1258645 h 4856353"/>
              <a:gd name="connsiteX1684" fmla="*/ 94879 w 5860123"/>
              <a:gd name="connsiteY1684" fmla="*/ 1252930 h 4856353"/>
              <a:gd name="connsiteX1685" fmla="*/ 102499 w 5860123"/>
              <a:gd name="connsiteY1685" fmla="*/ 1246263 h 4856353"/>
              <a:gd name="connsiteX1686" fmla="*/ 107261 w 5860123"/>
              <a:gd name="connsiteY1686" fmla="*/ 1247215 h 4856353"/>
              <a:gd name="connsiteX1687" fmla="*/ 126311 w 5860123"/>
              <a:gd name="connsiteY1687" fmla="*/ 1249120 h 4856353"/>
              <a:gd name="connsiteX1688" fmla="*/ 130121 w 5860123"/>
              <a:gd name="connsiteY1688" fmla="*/ 1254835 h 4856353"/>
              <a:gd name="connsiteX1689" fmla="*/ 139646 w 5860123"/>
              <a:gd name="connsiteY1689" fmla="*/ 1255788 h 4856353"/>
              <a:gd name="connsiteX1690" fmla="*/ 154886 w 5860123"/>
              <a:gd name="connsiteY1690" fmla="*/ 1249120 h 4856353"/>
              <a:gd name="connsiteX1691" fmla="*/ 158696 w 5860123"/>
              <a:gd name="connsiteY1691" fmla="*/ 1247215 h 4856353"/>
              <a:gd name="connsiteX1692" fmla="*/ 160601 w 5860123"/>
              <a:gd name="connsiteY1692" fmla="*/ 1246263 h 4856353"/>
              <a:gd name="connsiteX1693" fmla="*/ 163459 w 5860123"/>
              <a:gd name="connsiteY1693" fmla="*/ 1244358 h 4856353"/>
              <a:gd name="connsiteX1694" fmla="*/ 169174 w 5860123"/>
              <a:gd name="connsiteY1694" fmla="*/ 1244358 h 4856353"/>
              <a:gd name="connsiteX1695" fmla="*/ 180604 w 5860123"/>
              <a:gd name="connsiteY1695" fmla="*/ 1238643 h 4856353"/>
              <a:gd name="connsiteX1696" fmla="*/ 190129 w 5860123"/>
              <a:gd name="connsiteY1696" fmla="*/ 1242453 h 4856353"/>
              <a:gd name="connsiteX1697" fmla="*/ 195844 w 5860123"/>
              <a:gd name="connsiteY1697" fmla="*/ 1246263 h 4856353"/>
              <a:gd name="connsiteX1698" fmla="*/ 198701 w 5860123"/>
              <a:gd name="connsiteY1698" fmla="*/ 1240548 h 4856353"/>
              <a:gd name="connsiteX1699" fmla="*/ 198701 w 5860123"/>
              <a:gd name="connsiteY1699" fmla="*/ 1221498 h 4856353"/>
              <a:gd name="connsiteX1700" fmla="*/ 205369 w 5860123"/>
              <a:gd name="connsiteY1700" fmla="*/ 1227213 h 4856353"/>
              <a:gd name="connsiteX1701" fmla="*/ 216799 w 5860123"/>
              <a:gd name="connsiteY1701" fmla="*/ 1236738 h 4856353"/>
              <a:gd name="connsiteX1702" fmla="*/ 226324 w 5860123"/>
              <a:gd name="connsiteY1702" fmla="*/ 1238643 h 4856353"/>
              <a:gd name="connsiteX1703" fmla="*/ 234896 w 5860123"/>
              <a:gd name="connsiteY1703" fmla="*/ 1239595 h 4856353"/>
              <a:gd name="connsiteX1704" fmla="*/ 248231 w 5860123"/>
              <a:gd name="connsiteY1704" fmla="*/ 1235785 h 4856353"/>
              <a:gd name="connsiteX1705" fmla="*/ 256804 w 5860123"/>
              <a:gd name="connsiteY1705" fmla="*/ 1231975 h 4856353"/>
              <a:gd name="connsiteX1706" fmla="*/ 271091 w 5860123"/>
              <a:gd name="connsiteY1706" fmla="*/ 1227213 h 4856353"/>
              <a:gd name="connsiteX1707" fmla="*/ 275854 w 5860123"/>
              <a:gd name="connsiteY1707" fmla="*/ 1236738 h 4856353"/>
              <a:gd name="connsiteX1708" fmla="*/ 275854 w 5860123"/>
              <a:gd name="connsiteY1708" fmla="*/ 1246263 h 4856353"/>
              <a:gd name="connsiteX1709" fmla="*/ 278711 w 5860123"/>
              <a:gd name="connsiteY1709" fmla="*/ 1253883 h 4856353"/>
              <a:gd name="connsiteX1710" fmla="*/ 271091 w 5860123"/>
              <a:gd name="connsiteY1710" fmla="*/ 1264360 h 4856353"/>
              <a:gd name="connsiteX1711" fmla="*/ 269186 w 5860123"/>
              <a:gd name="connsiteY1711" fmla="*/ 1269123 h 4856353"/>
              <a:gd name="connsiteX1712" fmla="*/ 270139 w 5860123"/>
              <a:gd name="connsiteY1712" fmla="*/ 1272933 h 4856353"/>
              <a:gd name="connsiteX1713" fmla="*/ 272996 w 5860123"/>
              <a:gd name="connsiteY1713" fmla="*/ 1277695 h 4856353"/>
              <a:gd name="connsiteX1714" fmla="*/ 280616 w 5860123"/>
              <a:gd name="connsiteY1714" fmla="*/ 1277695 h 4856353"/>
              <a:gd name="connsiteX1715" fmla="*/ 290141 w 5860123"/>
              <a:gd name="connsiteY1715" fmla="*/ 1276743 h 4856353"/>
              <a:gd name="connsiteX1716" fmla="*/ 303476 w 5860123"/>
              <a:gd name="connsiteY1716" fmla="*/ 1276743 h 4856353"/>
              <a:gd name="connsiteX1717" fmla="*/ 313001 w 5860123"/>
              <a:gd name="connsiteY1717" fmla="*/ 1278648 h 4856353"/>
              <a:gd name="connsiteX1718" fmla="*/ 326336 w 5860123"/>
              <a:gd name="connsiteY1718" fmla="*/ 1280553 h 4856353"/>
              <a:gd name="connsiteX1719" fmla="*/ 333004 w 5860123"/>
              <a:gd name="connsiteY1719" fmla="*/ 1282458 h 4856353"/>
              <a:gd name="connsiteX1720" fmla="*/ 339671 w 5860123"/>
              <a:gd name="connsiteY1720" fmla="*/ 1291030 h 4856353"/>
              <a:gd name="connsiteX1721" fmla="*/ 349196 w 5860123"/>
              <a:gd name="connsiteY1721" fmla="*/ 1288173 h 4856353"/>
              <a:gd name="connsiteX1722" fmla="*/ 360626 w 5860123"/>
              <a:gd name="connsiteY1722" fmla="*/ 1277695 h 4856353"/>
              <a:gd name="connsiteX1723" fmla="*/ 368246 w 5860123"/>
              <a:gd name="connsiteY1723" fmla="*/ 1270075 h 4856353"/>
              <a:gd name="connsiteX1724" fmla="*/ 376819 w 5860123"/>
              <a:gd name="connsiteY1724" fmla="*/ 1260550 h 4856353"/>
              <a:gd name="connsiteX1725" fmla="*/ 377771 w 5860123"/>
              <a:gd name="connsiteY1725" fmla="*/ 1251025 h 4856353"/>
              <a:gd name="connsiteX1726" fmla="*/ 385391 w 5860123"/>
              <a:gd name="connsiteY1726" fmla="*/ 1248168 h 4856353"/>
              <a:gd name="connsiteX1727" fmla="*/ 393011 w 5860123"/>
              <a:gd name="connsiteY1727" fmla="*/ 1239595 h 4856353"/>
              <a:gd name="connsiteX1728" fmla="*/ 394916 w 5860123"/>
              <a:gd name="connsiteY1728" fmla="*/ 1233880 h 4856353"/>
              <a:gd name="connsiteX1729" fmla="*/ 395869 w 5860123"/>
              <a:gd name="connsiteY1729" fmla="*/ 1231023 h 4856353"/>
              <a:gd name="connsiteX1730" fmla="*/ 400631 w 5860123"/>
              <a:gd name="connsiteY1730" fmla="*/ 1226260 h 4856353"/>
              <a:gd name="connsiteX1731" fmla="*/ 413966 w 5860123"/>
              <a:gd name="connsiteY1731" fmla="*/ 1224355 h 4856353"/>
              <a:gd name="connsiteX1732" fmla="*/ 431111 w 5860123"/>
              <a:gd name="connsiteY1732" fmla="*/ 1223403 h 4856353"/>
              <a:gd name="connsiteX1733" fmla="*/ 435874 w 5860123"/>
              <a:gd name="connsiteY1733" fmla="*/ 1228165 h 4856353"/>
              <a:gd name="connsiteX1734" fmla="*/ 444446 w 5860123"/>
              <a:gd name="connsiteY1734" fmla="*/ 1234833 h 4856353"/>
              <a:gd name="connsiteX1735" fmla="*/ 451114 w 5860123"/>
              <a:gd name="connsiteY1735" fmla="*/ 1235785 h 4856353"/>
              <a:gd name="connsiteX1736" fmla="*/ 462544 w 5860123"/>
              <a:gd name="connsiteY1736" fmla="*/ 1234833 h 4856353"/>
              <a:gd name="connsiteX1737" fmla="*/ 477784 w 5860123"/>
              <a:gd name="connsiteY1737" fmla="*/ 1244358 h 4856353"/>
              <a:gd name="connsiteX1738" fmla="*/ 495881 w 5860123"/>
              <a:gd name="connsiteY1738" fmla="*/ 1246263 h 4856353"/>
              <a:gd name="connsiteX1739" fmla="*/ 504454 w 5860123"/>
              <a:gd name="connsiteY1739" fmla="*/ 1244358 h 4856353"/>
              <a:gd name="connsiteX1740" fmla="*/ 513026 w 5860123"/>
              <a:gd name="connsiteY1740" fmla="*/ 1231975 h 4856353"/>
              <a:gd name="connsiteX1741" fmla="*/ 537791 w 5860123"/>
              <a:gd name="connsiteY1741" fmla="*/ 1231975 h 4856353"/>
              <a:gd name="connsiteX1742" fmla="*/ 556841 w 5860123"/>
              <a:gd name="connsiteY1742" fmla="*/ 1213878 h 4856353"/>
              <a:gd name="connsiteX1743" fmla="*/ 567319 w 5860123"/>
              <a:gd name="connsiteY1743" fmla="*/ 1218640 h 4856353"/>
              <a:gd name="connsiteX1744" fmla="*/ 576844 w 5860123"/>
              <a:gd name="connsiteY1744" fmla="*/ 1219593 h 4856353"/>
              <a:gd name="connsiteX1745" fmla="*/ 597799 w 5860123"/>
              <a:gd name="connsiteY1745" fmla="*/ 1216735 h 4856353"/>
              <a:gd name="connsiteX1746" fmla="*/ 605419 w 5860123"/>
              <a:gd name="connsiteY1746" fmla="*/ 1214830 h 4856353"/>
              <a:gd name="connsiteX1747" fmla="*/ 614944 w 5860123"/>
              <a:gd name="connsiteY1747" fmla="*/ 1210068 h 4856353"/>
              <a:gd name="connsiteX1748" fmla="*/ 616849 w 5860123"/>
              <a:gd name="connsiteY1748" fmla="*/ 1210068 h 4856353"/>
              <a:gd name="connsiteX1749" fmla="*/ 626374 w 5860123"/>
              <a:gd name="connsiteY1749" fmla="*/ 1208163 h 4856353"/>
              <a:gd name="connsiteX1750" fmla="*/ 640661 w 5860123"/>
              <a:gd name="connsiteY1750" fmla="*/ 1205305 h 4856353"/>
              <a:gd name="connsiteX1751" fmla="*/ 643519 w 5860123"/>
              <a:gd name="connsiteY1751" fmla="*/ 1204353 h 4856353"/>
              <a:gd name="connsiteX1752" fmla="*/ 654949 w 5860123"/>
              <a:gd name="connsiteY1752" fmla="*/ 1200543 h 4856353"/>
              <a:gd name="connsiteX1753" fmla="*/ 666379 w 5860123"/>
              <a:gd name="connsiteY1753" fmla="*/ 1200543 h 4856353"/>
              <a:gd name="connsiteX1754" fmla="*/ 676856 w 5860123"/>
              <a:gd name="connsiteY1754" fmla="*/ 1194828 h 4856353"/>
              <a:gd name="connsiteX1755" fmla="*/ 686381 w 5860123"/>
              <a:gd name="connsiteY1755" fmla="*/ 1192923 h 4856353"/>
              <a:gd name="connsiteX1756" fmla="*/ 701621 w 5860123"/>
              <a:gd name="connsiteY1756" fmla="*/ 1194828 h 4856353"/>
              <a:gd name="connsiteX1757" fmla="*/ 721624 w 5860123"/>
              <a:gd name="connsiteY1757" fmla="*/ 1193875 h 4856353"/>
              <a:gd name="connsiteX1758" fmla="*/ 728291 w 5860123"/>
              <a:gd name="connsiteY1758" fmla="*/ 1189113 h 4856353"/>
              <a:gd name="connsiteX1759" fmla="*/ 734959 w 5860123"/>
              <a:gd name="connsiteY1759" fmla="*/ 1185303 h 4856353"/>
              <a:gd name="connsiteX1760" fmla="*/ 744484 w 5860123"/>
              <a:gd name="connsiteY1760" fmla="*/ 1179588 h 4856353"/>
              <a:gd name="connsiteX1761" fmla="*/ 753056 w 5860123"/>
              <a:gd name="connsiteY1761" fmla="*/ 1178635 h 4856353"/>
              <a:gd name="connsiteX1762" fmla="*/ 755914 w 5860123"/>
              <a:gd name="connsiteY1762" fmla="*/ 1179588 h 4856353"/>
              <a:gd name="connsiteX1763" fmla="*/ 765439 w 5860123"/>
              <a:gd name="connsiteY1763" fmla="*/ 1178635 h 4856353"/>
              <a:gd name="connsiteX1764" fmla="*/ 768296 w 5860123"/>
              <a:gd name="connsiteY1764" fmla="*/ 1173873 h 4856353"/>
              <a:gd name="connsiteX1765" fmla="*/ 776869 w 5860123"/>
              <a:gd name="connsiteY1765" fmla="*/ 1169110 h 4856353"/>
              <a:gd name="connsiteX1766" fmla="*/ 782584 w 5860123"/>
              <a:gd name="connsiteY1766" fmla="*/ 1162443 h 4856353"/>
              <a:gd name="connsiteX1767" fmla="*/ 782584 w 5860123"/>
              <a:gd name="connsiteY1767" fmla="*/ 1155775 h 4856353"/>
              <a:gd name="connsiteX1768" fmla="*/ 784489 w 5860123"/>
              <a:gd name="connsiteY1768" fmla="*/ 1145298 h 4856353"/>
              <a:gd name="connsiteX1769" fmla="*/ 784489 w 5860123"/>
              <a:gd name="connsiteY1769" fmla="*/ 1138630 h 4856353"/>
              <a:gd name="connsiteX1770" fmla="*/ 789251 w 5860123"/>
              <a:gd name="connsiteY1770" fmla="*/ 1130061 h 4856353"/>
              <a:gd name="connsiteX1771" fmla="*/ 791156 w 5860123"/>
              <a:gd name="connsiteY1771" fmla="*/ 1121488 h 4856353"/>
              <a:gd name="connsiteX1772" fmla="*/ 792109 w 5860123"/>
              <a:gd name="connsiteY1772" fmla="*/ 1111963 h 4856353"/>
              <a:gd name="connsiteX1773" fmla="*/ 794014 w 5860123"/>
              <a:gd name="connsiteY1773" fmla="*/ 1108153 h 4856353"/>
              <a:gd name="connsiteX1774" fmla="*/ 801634 w 5860123"/>
              <a:gd name="connsiteY1774" fmla="*/ 1097676 h 4856353"/>
              <a:gd name="connsiteX1775" fmla="*/ 813064 w 5860123"/>
              <a:gd name="connsiteY1775" fmla="*/ 1094818 h 4856353"/>
              <a:gd name="connsiteX1776" fmla="*/ 825446 w 5860123"/>
              <a:gd name="connsiteY1776" fmla="*/ 1093866 h 4856353"/>
              <a:gd name="connsiteX1777" fmla="*/ 836876 w 5860123"/>
              <a:gd name="connsiteY1777" fmla="*/ 1093866 h 4856353"/>
              <a:gd name="connsiteX1778" fmla="*/ 837829 w 5860123"/>
              <a:gd name="connsiteY1778" fmla="*/ 1089103 h 4856353"/>
              <a:gd name="connsiteX1779" fmla="*/ 829256 w 5860123"/>
              <a:gd name="connsiteY1779" fmla="*/ 1080531 h 4856353"/>
              <a:gd name="connsiteX1780" fmla="*/ 827351 w 5860123"/>
              <a:gd name="connsiteY1780" fmla="*/ 1069101 h 4856353"/>
              <a:gd name="connsiteX1781" fmla="*/ 834971 w 5860123"/>
              <a:gd name="connsiteY1781" fmla="*/ 1066243 h 4856353"/>
              <a:gd name="connsiteX1782" fmla="*/ 842591 w 5860123"/>
              <a:gd name="connsiteY1782" fmla="*/ 1066243 h 4856353"/>
              <a:gd name="connsiteX1783" fmla="*/ 844496 w 5860123"/>
              <a:gd name="connsiteY1783" fmla="*/ 1065291 h 4856353"/>
              <a:gd name="connsiteX1784" fmla="*/ 849259 w 5860123"/>
              <a:gd name="connsiteY1784" fmla="*/ 1061481 h 4856353"/>
              <a:gd name="connsiteX1785" fmla="*/ 855926 w 5860123"/>
              <a:gd name="connsiteY1785" fmla="*/ 1061481 h 4856353"/>
              <a:gd name="connsiteX1786" fmla="*/ 867356 w 5860123"/>
              <a:gd name="connsiteY1786" fmla="*/ 1063386 h 4856353"/>
              <a:gd name="connsiteX1787" fmla="*/ 870214 w 5860123"/>
              <a:gd name="connsiteY1787" fmla="*/ 1052908 h 4856353"/>
              <a:gd name="connsiteX1788" fmla="*/ 871166 w 5860123"/>
              <a:gd name="connsiteY1788" fmla="*/ 1047193 h 4856353"/>
              <a:gd name="connsiteX1789" fmla="*/ 867356 w 5860123"/>
              <a:gd name="connsiteY1789" fmla="*/ 1035763 h 4856353"/>
              <a:gd name="connsiteX1790" fmla="*/ 872119 w 5860123"/>
              <a:gd name="connsiteY1790" fmla="*/ 1031953 h 4856353"/>
              <a:gd name="connsiteX1791" fmla="*/ 876881 w 5860123"/>
              <a:gd name="connsiteY1791" fmla="*/ 1017666 h 4856353"/>
              <a:gd name="connsiteX1792" fmla="*/ 872119 w 5860123"/>
              <a:gd name="connsiteY1792" fmla="*/ 987186 h 4856353"/>
              <a:gd name="connsiteX1793" fmla="*/ 870214 w 5860123"/>
              <a:gd name="connsiteY1793" fmla="*/ 971946 h 4856353"/>
              <a:gd name="connsiteX1794" fmla="*/ 870214 w 5860123"/>
              <a:gd name="connsiteY1794" fmla="*/ 968136 h 4856353"/>
              <a:gd name="connsiteX1795" fmla="*/ 871166 w 5860123"/>
              <a:gd name="connsiteY1795" fmla="*/ 950991 h 4856353"/>
              <a:gd name="connsiteX1796" fmla="*/ 873071 w 5860123"/>
              <a:gd name="connsiteY1796" fmla="*/ 934798 h 4856353"/>
              <a:gd name="connsiteX1797" fmla="*/ 874976 w 5860123"/>
              <a:gd name="connsiteY1797" fmla="*/ 917653 h 4856353"/>
              <a:gd name="connsiteX1798" fmla="*/ 876881 w 5860123"/>
              <a:gd name="connsiteY1798" fmla="*/ 907176 h 4856353"/>
              <a:gd name="connsiteX1799" fmla="*/ 879739 w 5860123"/>
              <a:gd name="connsiteY1799" fmla="*/ 900508 h 4856353"/>
              <a:gd name="connsiteX1800" fmla="*/ 882596 w 5860123"/>
              <a:gd name="connsiteY1800" fmla="*/ 882411 h 4856353"/>
              <a:gd name="connsiteX1801" fmla="*/ 886406 w 5860123"/>
              <a:gd name="connsiteY1801" fmla="*/ 867171 h 4856353"/>
              <a:gd name="connsiteX1802" fmla="*/ 890216 w 5860123"/>
              <a:gd name="connsiteY1802" fmla="*/ 850978 h 4856353"/>
              <a:gd name="connsiteX1803" fmla="*/ 887359 w 5860123"/>
              <a:gd name="connsiteY1803" fmla="*/ 840501 h 4856353"/>
              <a:gd name="connsiteX1804" fmla="*/ 882596 w 5860123"/>
              <a:gd name="connsiteY1804" fmla="*/ 837643 h 4856353"/>
              <a:gd name="connsiteX1805" fmla="*/ 879739 w 5860123"/>
              <a:gd name="connsiteY1805" fmla="*/ 835738 h 4856353"/>
              <a:gd name="connsiteX1806" fmla="*/ 878786 w 5860123"/>
              <a:gd name="connsiteY1806" fmla="*/ 832881 h 4856353"/>
              <a:gd name="connsiteX1807" fmla="*/ 877834 w 5860123"/>
              <a:gd name="connsiteY1807" fmla="*/ 825261 h 4856353"/>
              <a:gd name="connsiteX1808" fmla="*/ 869261 w 5860123"/>
              <a:gd name="connsiteY1808" fmla="*/ 824308 h 4856353"/>
              <a:gd name="connsiteX1809" fmla="*/ 861641 w 5860123"/>
              <a:gd name="connsiteY1809" fmla="*/ 822403 h 4856353"/>
              <a:gd name="connsiteX1810" fmla="*/ 858784 w 5860123"/>
              <a:gd name="connsiteY1810" fmla="*/ 818593 h 4856353"/>
              <a:gd name="connsiteX1811" fmla="*/ 858784 w 5860123"/>
              <a:gd name="connsiteY1811" fmla="*/ 813831 h 4856353"/>
              <a:gd name="connsiteX1812" fmla="*/ 860689 w 5860123"/>
              <a:gd name="connsiteY1812" fmla="*/ 810973 h 4856353"/>
              <a:gd name="connsiteX1813" fmla="*/ 861641 w 5860123"/>
              <a:gd name="connsiteY1813" fmla="*/ 802401 h 4856353"/>
              <a:gd name="connsiteX1814" fmla="*/ 870214 w 5860123"/>
              <a:gd name="connsiteY1814" fmla="*/ 803353 h 4856353"/>
              <a:gd name="connsiteX1815" fmla="*/ 880691 w 5860123"/>
              <a:gd name="connsiteY1815" fmla="*/ 797638 h 4856353"/>
              <a:gd name="connsiteX1816" fmla="*/ 885454 w 5860123"/>
              <a:gd name="connsiteY1816" fmla="*/ 797638 h 4856353"/>
              <a:gd name="connsiteX1817" fmla="*/ 892121 w 5860123"/>
              <a:gd name="connsiteY1817" fmla="*/ 800496 h 4856353"/>
              <a:gd name="connsiteX1818" fmla="*/ 899741 w 5860123"/>
              <a:gd name="connsiteY1818" fmla="*/ 798591 h 4856353"/>
              <a:gd name="connsiteX1819" fmla="*/ 908314 w 5860123"/>
              <a:gd name="connsiteY1819" fmla="*/ 801448 h 4856353"/>
              <a:gd name="connsiteX1820" fmla="*/ 910219 w 5860123"/>
              <a:gd name="connsiteY1820" fmla="*/ 799543 h 4856353"/>
              <a:gd name="connsiteX1821" fmla="*/ 914981 w 5860123"/>
              <a:gd name="connsiteY1821" fmla="*/ 796686 h 4856353"/>
              <a:gd name="connsiteX1822" fmla="*/ 921649 w 5860123"/>
              <a:gd name="connsiteY1822" fmla="*/ 798591 h 4856353"/>
              <a:gd name="connsiteX1823" fmla="*/ 931174 w 5860123"/>
              <a:gd name="connsiteY1823" fmla="*/ 801448 h 4856353"/>
              <a:gd name="connsiteX1824" fmla="*/ 936889 w 5860123"/>
              <a:gd name="connsiteY1824" fmla="*/ 801448 h 4856353"/>
              <a:gd name="connsiteX1825" fmla="*/ 938794 w 5860123"/>
              <a:gd name="connsiteY1825" fmla="*/ 797638 h 4856353"/>
              <a:gd name="connsiteX1826" fmla="*/ 947366 w 5860123"/>
              <a:gd name="connsiteY1826" fmla="*/ 801448 h 4856353"/>
              <a:gd name="connsiteX1827" fmla="*/ 950224 w 5860123"/>
              <a:gd name="connsiteY1827" fmla="*/ 803353 h 4856353"/>
              <a:gd name="connsiteX1828" fmla="*/ 955939 w 5860123"/>
              <a:gd name="connsiteY1828" fmla="*/ 805258 h 4856353"/>
              <a:gd name="connsiteX1829" fmla="*/ 961654 w 5860123"/>
              <a:gd name="connsiteY1829" fmla="*/ 804306 h 4856353"/>
              <a:gd name="connsiteX1830" fmla="*/ 970226 w 5860123"/>
              <a:gd name="connsiteY1830" fmla="*/ 804306 h 4856353"/>
              <a:gd name="connsiteX1831" fmla="*/ 980704 w 5860123"/>
              <a:gd name="connsiteY1831" fmla="*/ 801448 h 4856353"/>
              <a:gd name="connsiteX1832" fmla="*/ 997849 w 5860123"/>
              <a:gd name="connsiteY1832" fmla="*/ 802401 h 4856353"/>
              <a:gd name="connsiteX1833" fmla="*/ 1007374 w 5860123"/>
              <a:gd name="connsiteY1833" fmla="*/ 803353 h 4856353"/>
              <a:gd name="connsiteX1834" fmla="*/ 1018804 w 5860123"/>
              <a:gd name="connsiteY1834" fmla="*/ 799543 h 4856353"/>
              <a:gd name="connsiteX1835" fmla="*/ 1029281 w 5860123"/>
              <a:gd name="connsiteY1835" fmla="*/ 796686 h 4856353"/>
              <a:gd name="connsiteX1836" fmla="*/ 1034996 w 5860123"/>
              <a:gd name="connsiteY1836" fmla="*/ 797638 h 4856353"/>
              <a:gd name="connsiteX1837" fmla="*/ 1049284 w 5860123"/>
              <a:gd name="connsiteY1837" fmla="*/ 806211 h 4856353"/>
              <a:gd name="connsiteX1838" fmla="*/ 1055951 w 5860123"/>
              <a:gd name="connsiteY1838" fmla="*/ 813831 h 4856353"/>
              <a:gd name="connsiteX1839" fmla="*/ 1057856 w 5860123"/>
              <a:gd name="connsiteY1839" fmla="*/ 817641 h 4856353"/>
              <a:gd name="connsiteX1840" fmla="*/ 1070239 w 5860123"/>
              <a:gd name="connsiteY1840" fmla="*/ 825261 h 4856353"/>
              <a:gd name="connsiteX1841" fmla="*/ 1082621 w 5860123"/>
              <a:gd name="connsiteY1841" fmla="*/ 827166 h 4856353"/>
              <a:gd name="connsiteX1842" fmla="*/ 1089289 w 5860123"/>
              <a:gd name="connsiteY1842" fmla="*/ 830976 h 4856353"/>
              <a:gd name="connsiteX1843" fmla="*/ 1100719 w 5860123"/>
              <a:gd name="connsiteY1843" fmla="*/ 837643 h 4856353"/>
              <a:gd name="connsiteX1844" fmla="*/ 1110244 w 5860123"/>
              <a:gd name="connsiteY1844" fmla="*/ 830976 h 4856353"/>
              <a:gd name="connsiteX1845" fmla="*/ 1108339 w 5860123"/>
              <a:gd name="connsiteY1845" fmla="*/ 821451 h 4856353"/>
              <a:gd name="connsiteX1846" fmla="*/ 1105481 w 5860123"/>
              <a:gd name="connsiteY1846" fmla="*/ 810973 h 4856353"/>
              <a:gd name="connsiteX1847" fmla="*/ 1096909 w 5860123"/>
              <a:gd name="connsiteY1847" fmla="*/ 797638 h 4856353"/>
              <a:gd name="connsiteX1848" fmla="*/ 1094051 w 5860123"/>
              <a:gd name="connsiteY1848" fmla="*/ 783351 h 4856353"/>
              <a:gd name="connsiteX1849" fmla="*/ 1095004 w 5860123"/>
              <a:gd name="connsiteY1849" fmla="*/ 781446 h 4856353"/>
              <a:gd name="connsiteX1850" fmla="*/ 1096909 w 5860123"/>
              <a:gd name="connsiteY1850" fmla="*/ 773826 h 4856353"/>
              <a:gd name="connsiteX1851" fmla="*/ 1102624 w 5860123"/>
              <a:gd name="connsiteY1851" fmla="*/ 764301 h 4856353"/>
              <a:gd name="connsiteX1852" fmla="*/ 1108339 w 5860123"/>
              <a:gd name="connsiteY1852" fmla="*/ 750013 h 4856353"/>
              <a:gd name="connsiteX1853" fmla="*/ 1113101 w 5860123"/>
              <a:gd name="connsiteY1853" fmla="*/ 741441 h 4856353"/>
              <a:gd name="connsiteX1854" fmla="*/ 1120721 w 5860123"/>
              <a:gd name="connsiteY1854" fmla="*/ 736678 h 4856353"/>
              <a:gd name="connsiteX1855" fmla="*/ 1124531 w 5860123"/>
              <a:gd name="connsiteY1855" fmla="*/ 729058 h 4856353"/>
              <a:gd name="connsiteX1856" fmla="*/ 1130246 w 5860123"/>
              <a:gd name="connsiteY1856" fmla="*/ 720486 h 4856353"/>
              <a:gd name="connsiteX1857" fmla="*/ 1135961 w 5860123"/>
              <a:gd name="connsiteY1857" fmla="*/ 711913 h 4856353"/>
              <a:gd name="connsiteX1858" fmla="*/ 1142629 w 5860123"/>
              <a:gd name="connsiteY1858" fmla="*/ 704293 h 4856353"/>
              <a:gd name="connsiteX1859" fmla="*/ 1150249 w 5860123"/>
              <a:gd name="connsiteY1859" fmla="*/ 693816 h 4856353"/>
              <a:gd name="connsiteX1860" fmla="*/ 1154059 w 5860123"/>
              <a:gd name="connsiteY1860" fmla="*/ 689053 h 4856353"/>
              <a:gd name="connsiteX1861" fmla="*/ 1161679 w 5860123"/>
              <a:gd name="connsiteY1861" fmla="*/ 680481 h 4856353"/>
              <a:gd name="connsiteX1862" fmla="*/ 1168346 w 5860123"/>
              <a:gd name="connsiteY1862" fmla="*/ 669051 h 4856353"/>
              <a:gd name="connsiteX1863" fmla="*/ 1179776 w 5860123"/>
              <a:gd name="connsiteY1863" fmla="*/ 649048 h 4856353"/>
              <a:gd name="connsiteX1864" fmla="*/ 1187396 w 5860123"/>
              <a:gd name="connsiteY1864" fmla="*/ 636666 h 4856353"/>
              <a:gd name="connsiteX1865" fmla="*/ 1202636 w 5860123"/>
              <a:gd name="connsiteY1865" fmla="*/ 617617 h 4856353"/>
              <a:gd name="connsiteX1866" fmla="*/ 1213114 w 5860123"/>
              <a:gd name="connsiteY1866" fmla="*/ 603329 h 4856353"/>
              <a:gd name="connsiteX1867" fmla="*/ 1218829 w 5860123"/>
              <a:gd name="connsiteY1867" fmla="*/ 593803 h 4856353"/>
              <a:gd name="connsiteX1868" fmla="*/ 1232164 w 5860123"/>
              <a:gd name="connsiteY1868" fmla="*/ 601423 h 4856353"/>
              <a:gd name="connsiteX1869" fmla="*/ 1236926 w 5860123"/>
              <a:gd name="connsiteY1869" fmla="*/ 605234 h 4856353"/>
              <a:gd name="connsiteX1870" fmla="*/ 1243594 w 5860123"/>
              <a:gd name="connsiteY1870" fmla="*/ 609997 h 4856353"/>
              <a:gd name="connsiteX1871" fmla="*/ 1246451 w 5860123"/>
              <a:gd name="connsiteY1871" fmla="*/ 613806 h 4856353"/>
              <a:gd name="connsiteX1872" fmla="*/ 1252166 w 5860123"/>
              <a:gd name="connsiteY1872" fmla="*/ 619521 h 4856353"/>
              <a:gd name="connsiteX1873" fmla="*/ 1257881 w 5860123"/>
              <a:gd name="connsiteY1873" fmla="*/ 623332 h 4856353"/>
              <a:gd name="connsiteX1874" fmla="*/ 1266454 w 5860123"/>
              <a:gd name="connsiteY1874" fmla="*/ 630951 h 4856353"/>
              <a:gd name="connsiteX1875" fmla="*/ 1269311 w 5860123"/>
              <a:gd name="connsiteY1875" fmla="*/ 632857 h 4856353"/>
              <a:gd name="connsiteX1876" fmla="*/ 1274074 w 5860123"/>
              <a:gd name="connsiteY1876" fmla="*/ 636666 h 4856353"/>
              <a:gd name="connsiteX1877" fmla="*/ 1284551 w 5860123"/>
              <a:gd name="connsiteY1877" fmla="*/ 643333 h 4856353"/>
              <a:gd name="connsiteX1878" fmla="*/ 1296934 w 5860123"/>
              <a:gd name="connsiteY1878" fmla="*/ 646191 h 4856353"/>
              <a:gd name="connsiteX1879" fmla="*/ 1305506 w 5860123"/>
              <a:gd name="connsiteY1879" fmla="*/ 648097 h 4856353"/>
              <a:gd name="connsiteX1880" fmla="*/ 1314079 w 5860123"/>
              <a:gd name="connsiteY1880" fmla="*/ 647143 h 4856353"/>
              <a:gd name="connsiteX1881" fmla="*/ 1317889 w 5860123"/>
              <a:gd name="connsiteY1881" fmla="*/ 648097 h 4856353"/>
              <a:gd name="connsiteX1882" fmla="*/ 1325509 w 5860123"/>
              <a:gd name="connsiteY1882" fmla="*/ 650953 h 4856353"/>
              <a:gd name="connsiteX1883" fmla="*/ 1335034 w 5860123"/>
              <a:gd name="connsiteY1883" fmla="*/ 653811 h 4856353"/>
              <a:gd name="connsiteX1884" fmla="*/ 1351226 w 5860123"/>
              <a:gd name="connsiteY1884" fmla="*/ 657622 h 4856353"/>
              <a:gd name="connsiteX1885" fmla="*/ 1360751 w 5860123"/>
              <a:gd name="connsiteY1885" fmla="*/ 663336 h 4856353"/>
              <a:gd name="connsiteX1886" fmla="*/ 1376944 w 5860123"/>
              <a:gd name="connsiteY1886" fmla="*/ 671908 h 4856353"/>
              <a:gd name="connsiteX1887" fmla="*/ 1390279 w 5860123"/>
              <a:gd name="connsiteY1887" fmla="*/ 664288 h 4856353"/>
              <a:gd name="connsiteX1888" fmla="*/ 1404566 w 5860123"/>
              <a:gd name="connsiteY1888" fmla="*/ 664288 h 4856353"/>
              <a:gd name="connsiteX1889" fmla="*/ 1418854 w 5860123"/>
              <a:gd name="connsiteY1889" fmla="*/ 665242 h 4856353"/>
              <a:gd name="connsiteX1890" fmla="*/ 1433141 w 5860123"/>
              <a:gd name="connsiteY1890" fmla="*/ 664288 h 4856353"/>
              <a:gd name="connsiteX1891" fmla="*/ 1440761 w 5860123"/>
              <a:gd name="connsiteY1891" fmla="*/ 658573 h 4856353"/>
              <a:gd name="connsiteX1892" fmla="*/ 1449334 w 5860123"/>
              <a:gd name="connsiteY1892" fmla="*/ 650001 h 4856353"/>
              <a:gd name="connsiteX1893" fmla="*/ 1453144 w 5860123"/>
              <a:gd name="connsiteY1893" fmla="*/ 637619 h 4856353"/>
              <a:gd name="connsiteX1894" fmla="*/ 1456001 w 5860123"/>
              <a:gd name="connsiteY1894" fmla="*/ 627141 h 4856353"/>
              <a:gd name="connsiteX1895" fmla="*/ 1454096 w 5860123"/>
              <a:gd name="connsiteY1895" fmla="*/ 618568 h 4856353"/>
              <a:gd name="connsiteX1896" fmla="*/ 1454096 w 5860123"/>
              <a:gd name="connsiteY1896" fmla="*/ 606186 h 4856353"/>
              <a:gd name="connsiteX1897" fmla="*/ 1456954 w 5860123"/>
              <a:gd name="connsiteY1897" fmla="*/ 590946 h 4856353"/>
              <a:gd name="connsiteX1898" fmla="*/ 1457906 w 5860123"/>
              <a:gd name="connsiteY1898" fmla="*/ 586183 h 4856353"/>
              <a:gd name="connsiteX1899" fmla="*/ 1461716 w 5860123"/>
              <a:gd name="connsiteY1899" fmla="*/ 566181 h 4856353"/>
              <a:gd name="connsiteX1900" fmla="*/ 1462669 w 5860123"/>
              <a:gd name="connsiteY1900" fmla="*/ 555703 h 4856353"/>
              <a:gd name="connsiteX1901" fmla="*/ 1465526 w 5860123"/>
              <a:gd name="connsiteY1901" fmla="*/ 536653 h 4856353"/>
              <a:gd name="connsiteX1902" fmla="*/ 1470289 w 5860123"/>
              <a:gd name="connsiteY1902" fmla="*/ 528082 h 4856353"/>
              <a:gd name="connsiteX1903" fmla="*/ 1477909 w 5860123"/>
              <a:gd name="connsiteY1903" fmla="*/ 518556 h 4856353"/>
              <a:gd name="connsiteX1904" fmla="*/ 1482671 w 5860123"/>
              <a:gd name="connsiteY1904" fmla="*/ 513794 h 4856353"/>
              <a:gd name="connsiteX1905" fmla="*/ 1488386 w 5860123"/>
              <a:gd name="connsiteY1905" fmla="*/ 504268 h 4856353"/>
              <a:gd name="connsiteX1906" fmla="*/ 1500769 w 5860123"/>
              <a:gd name="connsiteY1906" fmla="*/ 497601 h 4856353"/>
              <a:gd name="connsiteX1907" fmla="*/ 1516961 w 5860123"/>
              <a:gd name="connsiteY1907" fmla="*/ 499506 h 4856353"/>
              <a:gd name="connsiteX1908" fmla="*/ 1531249 w 5860123"/>
              <a:gd name="connsiteY1908" fmla="*/ 504268 h 4856353"/>
              <a:gd name="connsiteX1909" fmla="*/ 1539821 w 5860123"/>
              <a:gd name="connsiteY1909" fmla="*/ 504268 h 4856353"/>
              <a:gd name="connsiteX1910" fmla="*/ 1555061 w 5860123"/>
              <a:gd name="connsiteY1910" fmla="*/ 503316 h 4856353"/>
              <a:gd name="connsiteX1911" fmla="*/ 1568396 w 5860123"/>
              <a:gd name="connsiteY1911" fmla="*/ 498553 h 4856353"/>
              <a:gd name="connsiteX1912" fmla="*/ 1576969 w 5860123"/>
              <a:gd name="connsiteY1912" fmla="*/ 489029 h 4856353"/>
              <a:gd name="connsiteX1913" fmla="*/ 1587446 w 5860123"/>
              <a:gd name="connsiteY1913" fmla="*/ 480456 h 4856353"/>
              <a:gd name="connsiteX1914" fmla="*/ 1593161 w 5860123"/>
              <a:gd name="connsiteY1914" fmla="*/ 471884 h 4856353"/>
              <a:gd name="connsiteX1915" fmla="*/ 1597924 w 5860123"/>
              <a:gd name="connsiteY1915" fmla="*/ 464264 h 4856353"/>
              <a:gd name="connsiteX1916" fmla="*/ 1597924 w 5860123"/>
              <a:gd name="connsiteY1916" fmla="*/ 455691 h 4856353"/>
              <a:gd name="connsiteX1917" fmla="*/ 1596971 w 5860123"/>
              <a:gd name="connsiteY1917" fmla="*/ 447119 h 4856353"/>
              <a:gd name="connsiteX1918" fmla="*/ 1602686 w 5860123"/>
              <a:gd name="connsiteY1918" fmla="*/ 437593 h 4856353"/>
              <a:gd name="connsiteX1919" fmla="*/ 1611259 w 5860123"/>
              <a:gd name="connsiteY1919" fmla="*/ 430926 h 4856353"/>
              <a:gd name="connsiteX1920" fmla="*/ 1620784 w 5860123"/>
              <a:gd name="connsiteY1920" fmla="*/ 427117 h 4856353"/>
              <a:gd name="connsiteX1921" fmla="*/ 1636976 w 5860123"/>
              <a:gd name="connsiteY1921" fmla="*/ 429974 h 4856353"/>
              <a:gd name="connsiteX1922" fmla="*/ 1644596 w 5860123"/>
              <a:gd name="connsiteY1922" fmla="*/ 433783 h 4856353"/>
              <a:gd name="connsiteX1923" fmla="*/ 1656979 w 5860123"/>
              <a:gd name="connsiteY1923" fmla="*/ 443308 h 4856353"/>
              <a:gd name="connsiteX1924" fmla="*/ 1665551 w 5860123"/>
              <a:gd name="connsiteY1924" fmla="*/ 445213 h 4856353"/>
              <a:gd name="connsiteX1925" fmla="*/ 1668409 w 5860123"/>
              <a:gd name="connsiteY1925" fmla="*/ 440451 h 4856353"/>
              <a:gd name="connsiteX1926" fmla="*/ 1679839 w 5860123"/>
              <a:gd name="connsiteY1926" fmla="*/ 437593 h 4856353"/>
              <a:gd name="connsiteX1927" fmla="*/ 1693174 w 5860123"/>
              <a:gd name="connsiteY1927" fmla="*/ 437593 h 4856353"/>
              <a:gd name="connsiteX1928" fmla="*/ 1696984 w 5860123"/>
              <a:gd name="connsiteY1928" fmla="*/ 441404 h 4856353"/>
              <a:gd name="connsiteX1929" fmla="*/ 1696984 w 5860123"/>
              <a:gd name="connsiteY1929" fmla="*/ 449977 h 4856353"/>
              <a:gd name="connsiteX1930" fmla="*/ 1697936 w 5860123"/>
              <a:gd name="connsiteY1930" fmla="*/ 454739 h 4856353"/>
              <a:gd name="connsiteX1931" fmla="*/ 1696984 w 5860123"/>
              <a:gd name="connsiteY1931" fmla="*/ 462359 h 4856353"/>
              <a:gd name="connsiteX1932" fmla="*/ 1686506 w 5860123"/>
              <a:gd name="connsiteY1932" fmla="*/ 470931 h 4856353"/>
              <a:gd name="connsiteX1933" fmla="*/ 1683649 w 5860123"/>
              <a:gd name="connsiteY1933" fmla="*/ 480456 h 4856353"/>
              <a:gd name="connsiteX1934" fmla="*/ 1696984 w 5860123"/>
              <a:gd name="connsiteY1934" fmla="*/ 495696 h 4856353"/>
              <a:gd name="connsiteX1935" fmla="*/ 1703651 w 5860123"/>
              <a:gd name="connsiteY1935" fmla="*/ 508078 h 4856353"/>
              <a:gd name="connsiteX1936" fmla="*/ 1696984 w 5860123"/>
              <a:gd name="connsiteY1936" fmla="*/ 516652 h 4856353"/>
              <a:gd name="connsiteX1937" fmla="*/ 1696031 w 5860123"/>
              <a:gd name="connsiteY1937" fmla="*/ 522367 h 4856353"/>
              <a:gd name="connsiteX1938" fmla="*/ 1706509 w 5860123"/>
              <a:gd name="connsiteY1938" fmla="*/ 529986 h 4856353"/>
              <a:gd name="connsiteX1939" fmla="*/ 1716986 w 5860123"/>
              <a:gd name="connsiteY1939" fmla="*/ 536653 h 4856353"/>
              <a:gd name="connsiteX1940" fmla="*/ 1721749 w 5860123"/>
              <a:gd name="connsiteY1940" fmla="*/ 541416 h 4856353"/>
              <a:gd name="connsiteX1941" fmla="*/ 1729369 w 5860123"/>
              <a:gd name="connsiteY1941" fmla="*/ 550941 h 4856353"/>
              <a:gd name="connsiteX1942" fmla="*/ 1737941 w 5860123"/>
              <a:gd name="connsiteY1942" fmla="*/ 558562 h 4856353"/>
              <a:gd name="connsiteX1943" fmla="*/ 1739846 w 5860123"/>
              <a:gd name="connsiteY1943" fmla="*/ 571896 h 4856353"/>
              <a:gd name="connsiteX1944" fmla="*/ 1744609 w 5860123"/>
              <a:gd name="connsiteY1944" fmla="*/ 584278 h 4856353"/>
              <a:gd name="connsiteX1945" fmla="*/ 1751276 w 5860123"/>
              <a:gd name="connsiteY1945" fmla="*/ 591898 h 4856353"/>
              <a:gd name="connsiteX1946" fmla="*/ 1766516 w 5860123"/>
              <a:gd name="connsiteY1946" fmla="*/ 605234 h 4856353"/>
              <a:gd name="connsiteX1947" fmla="*/ 1779851 w 5860123"/>
              <a:gd name="connsiteY1947" fmla="*/ 617617 h 4856353"/>
              <a:gd name="connsiteX1948" fmla="*/ 1787471 w 5860123"/>
              <a:gd name="connsiteY1948" fmla="*/ 622379 h 4856353"/>
              <a:gd name="connsiteX1949" fmla="*/ 1798901 w 5860123"/>
              <a:gd name="connsiteY1949" fmla="*/ 621426 h 4856353"/>
              <a:gd name="connsiteX1950" fmla="*/ 1805569 w 5860123"/>
              <a:gd name="connsiteY1950" fmla="*/ 619521 h 4856353"/>
              <a:gd name="connsiteX1951" fmla="*/ 1822714 w 5860123"/>
              <a:gd name="connsiteY1951" fmla="*/ 625237 h 4856353"/>
              <a:gd name="connsiteX1952" fmla="*/ 1824619 w 5860123"/>
              <a:gd name="connsiteY1952" fmla="*/ 632857 h 4856353"/>
              <a:gd name="connsiteX1953" fmla="*/ 1828429 w 5860123"/>
              <a:gd name="connsiteY1953" fmla="*/ 642381 h 4856353"/>
              <a:gd name="connsiteX1954" fmla="*/ 1833191 w 5860123"/>
              <a:gd name="connsiteY1954" fmla="*/ 647143 h 4856353"/>
              <a:gd name="connsiteX1955" fmla="*/ 1845574 w 5860123"/>
              <a:gd name="connsiteY1955" fmla="*/ 653811 h 4856353"/>
              <a:gd name="connsiteX1956" fmla="*/ 1855099 w 5860123"/>
              <a:gd name="connsiteY1956" fmla="*/ 650001 h 4856353"/>
              <a:gd name="connsiteX1957" fmla="*/ 1857956 w 5860123"/>
              <a:gd name="connsiteY1957" fmla="*/ 659526 h 4856353"/>
              <a:gd name="connsiteX1958" fmla="*/ 1857956 w 5860123"/>
              <a:gd name="connsiteY1958" fmla="*/ 666193 h 4856353"/>
              <a:gd name="connsiteX1959" fmla="*/ 1864624 w 5860123"/>
              <a:gd name="connsiteY1959" fmla="*/ 673813 h 4856353"/>
              <a:gd name="connsiteX1960" fmla="*/ 1875101 w 5860123"/>
              <a:gd name="connsiteY1960" fmla="*/ 680481 h 4856353"/>
              <a:gd name="connsiteX1961" fmla="*/ 1878911 w 5860123"/>
              <a:gd name="connsiteY1961" fmla="*/ 691911 h 4856353"/>
              <a:gd name="connsiteX1962" fmla="*/ 1881769 w 5860123"/>
              <a:gd name="connsiteY1962" fmla="*/ 699531 h 4856353"/>
              <a:gd name="connsiteX1963" fmla="*/ 1883674 w 5860123"/>
              <a:gd name="connsiteY1963" fmla="*/ 708103 h 4856353"/>
              <a:gd name="connsiteX1964" fmla="*/ 1883674 w 5860123"/>
              <a:gd name="connsiteY1964" fmla="*/ 713818 h 4856353"/>
              <a:gd name="connsiteX1965" fmla="*/ 1884626 w 5860123"/>
              <a:gd name="connsiteY1965" fmla="*/ 719533 h 4856353"/>
              <a:gd name="connsiteX1966" fmla="*/ 1884626 w 5860123"/>
              <a:gd name="connsiteY1966" fmla="*/ 730011 h 4856353"/>
              <a:gd name="connsiteX1967" fmla="*/ 1883674 w 5860123"/>
              <a:gd name="connsiteY1967" fmla="*/ 738583 h 4856353"/>
              <a:gd name="connsiteX1968" fmla="*/ 1884626 w 5860123"/>
              <a:gd name="connsiteY1968" fmla="*/ 744298 h 4856353"/>
              <a:gd name="connsiteX1969" fmla="*/ 1886531 w 5860123"/>
              <a:gd name="connsiteY1969" fmla="*/ 752871 h 4856353"/>
              <a:gd name="connsiteX1970" fmla="*/ 1893199 w 5860123"/>
              <a:gd name="connsiteY1970" fmla="*/ 765253 h 4856353"/>
              <a:gd name="connsiteX1971" fmla="*/ 1894151 w 5860123"/>
              <a:gd name="connsiteY1971" fmla="*/ 770968 h 4856353"/>
              <a:gd name="connsiteX1972" fmla="*/ 1899866 w 5860123"/>
              <a:gd name="connsiteY1972" fmla="*/ 779541 h 4856353"/>
              <a:gd name="connsiteX1973" fmla="*/ 1907486 w 5860123"/>
              <a:gd name="connsiteY1973" fmla="*/ 786208 h 4856353"/>
              <a:gd name="connsiteX1974" fmla="*/ 1909391 w 5860123"/>
              <a:gd name="connsiteY1974" fmla="*/ 790018 h 4856353"/>
              <a:gd name="connsiteX1975" fmla="*/ 1911296 w 5860123"/>
              <a:gd name="connsiteY1975" fmla="*/ 805258 h 4856353"/>
              <a:gd name="connsiteX1976" fmla="*/ 1915106 w 5860123"/>
              <a:gd name="connsiteY1976" fmla="*/ 812878 h 4856353"/>
              <a:gd name="connsiteX1977" fmla="*/ 1917964 w 5860123"/>
              <a:gd name="connsiteY1977" fmla="*/ 818593 h 4856353"/>
              <a:gd name="connsiteX1978" fmla="*/ 1917011 w 5860123"/>
              <a:gd name="connsiteY1978" fmla="*/ 824308 h 4856353"/>
              <a:gd name="connsiteX1979" fmla="*/ 1912249 w 5860123"/>
              <a:gd name="connsiteY1979" fmla="*/ 832881 h 4856353"/>
              <a:gd name="connsiteX1980" fmla="*/ 1912249 w 5860123"/>
              <a:gd name="connsiteY1980" fmla="*/ 838596 h 4856353"/>
              <a:gd name="connsiteX1981" fmla="*/ 1910344 w 5860123"/>
              <a:gd name="connsiteY1981" fmla="*/ 850978 h 4856353"/>
              <a:gd name="connsiteX1982" fmla="*/ 1907486 w 5860123"/>
              <a:gd name="connsiteY1982" fmla="*/ 855741 h 4856353"/>
              <a:gd name="connsiteX1983" fmla="*/ 1902724 w 5860123"/>
              <a:gd name="connsiteY1983" fmla="*/ 862408 h 4856353"/>
              <a:gd name="connsiteX1984" fmla="*/ 1895104 w 5860123"/>
              <a:gd name="connsiteY1984" fmla="*/ 877648 h 4856353"/>
              <a:gd name="connsiteX1985" fmla="*/ 1895104 w 5860123"/>
              <a:gd name="connsiteY1985" fmla="*/ 882411 h 4856353"/>
              <a:gd name="connsiteX1986" fmla="*/ 1897009 w 5860123"/>
              <a:gd name="connsiteY1986" fmla="*/ 895746 h 4856353"/>
              <a:gd name="connsiteX1987" fmla="*/ 1897961 w 5860123"/>
              <a:gd name="connsiteY1987" fmla="*/ 910986 h 4856353"/>
              <a:gd name="connsiteX1988" fmla="*/ 1896056 w 5860123"/>
              <a:gd name="connsiteY1988" fmla="*/ 914796 h 4856353"/>
              <a:gd name="connsiteX1989" fmla="*/ 1889389 w 5860123"/>
              <a:gd name="connsiteY1989" fmla="*/ 922416 h 4856353"/>
              <a:gd name="connsiteX1990" fmla="*/ 1876054 w 5860123"/>
              <a:gd name="connsiteY1990" fmla="*/ 930988 h 4856353"/>
              <a:gd name="connsiteX1991" fmla="*/ 1864624 w 5860123"/>
              <a:gd name="connsiteY1991" fmla="*/ 944323 h 4856353"/>
              <a:gd name="connsiteX1992" fmla="*/ 1857004 w 5860123"/>
              <a:gd name="connsiteY1992" fmla="*/ 958611 h 4856353"/>
              <a:gd name="connsiteX1993" fmla="*/ 1854146 w 5860123"/>
              <a:gd name="connsiteY1993" fmla="*/ 966231 h 4856353"/>
              <a:gd name="connsiteX1994" fmla="*/ 1854146 w 5860123"/>
              <a:gd name="connsiteY1994" fmla="*/ 973851 h 4856353"/>
              <a:gd name="connsiteX1995" fmla="*/ 1857004 w 5860123"/>
              <a:gd name="connsiteY1995" fmla="*/ 982423 h 4856353"/>
              <a:gd name="connsiteX1996" fmla="*/ 1860814 w 5860123"/>
              <a:gd name="connsiteY1996" fmla="*/ 990996 h 4856353"/>
              <a:gd name="connsiteX1997" fmla="*/ 1862719 w 5860123"/>
              <a:gd name="connsiteY1997" fmla="*/ 1002426 h 4856353"/>
              <a:gd name="connsiteX1998" fmla="*/ 1864624 w 5860123"/>
              <a:gd name="connsiteY1998" fmla="*/ 1010046 h 4856353"/>
              <a:gd name="connsiteX1999" fmla="*/ 1864624 w 5860123"/>
              <a:gd name="connsiteY1999" fmla="*/ 1018618 h 4856353"/>
              <a:gd name="connsiteX2000" fmla="*/ 1875101 w 5860123"/>
              <a:gd name="connsiteY2000" fmla="*/ 1021476 h 4856353"/>
              <a:gd name="connsiteX2001" fmla="*/ 1891294 w 5860123"/>
              <a:gd name="connsiteY2001" fmla="*/ 1028143 h 4856353"/>
              <a:gd name="connsiteX2002" fmla="*/ 1904629 w 5860123"/>
              <a:gd name="connsiteY2002" fmla="*/ 1035763 h 4856353"/>
              <a:gd name="connsiteX2003" fmla="*/ 1912249 w 5860123"/>
              <a:gd name="connsiteY2003" fmla="*/ 1038621 h 4856353"/>
              <a:gd name="connsiteX2004" fmla="*/ 1917964 w 5860123"/>
              <a:gd name="connsiteY2004" fmla="*/ 1039573 h 4856353"/>
              <a:gd name="connsiteX2005" fmla="*/ 1929394 w 5860123"/>
              <a:gd name="connsiteY2005" fmla="*/ 1050051 h 4856353"/>
              <a:gd name="connsiteX2006" fmla="*/ 1948444 w 5860123"/>
              <a:gd name="connsiteY2006" fmla="*/ 1053861 h 4856353"/>
              <a:gd name="connsiteX2007" fmla="*/ 1957969 w 5860123"/>
              <a:gd name="connsiteY2007" fmla="*/ 1053861 h 4856353"/>
              <a:gd name="connsiteX2008" fmla="*/ 1972256 w 5860123"/>
              <a:gd name="connsiteY2008" fmla="*/ 1057671 h 4856353"/>
              <a:gd name="connsiteX2009" fmla="*/ 1983686 w 5860123"/>
              <a:gd name="connsiteY2009" fmla="*/ 1067196 h 4856353"/>
              <a:gd name="connsiteX2010" fmla="*/ 2001784 w 5860123"/>
              <a:gd name="connsiteY2010" fmla="*/ 1073863 h 4856353"/>
              <a:gd name="connsiteX2011" fmla="*/ 2017976 w 5860123"/>
              <a:gd name="connsiteY2011" fmla="*/ 1072911 h 4856353"/>
              <a:gd name="connsiteX2012" fmla="*/ 2031311 w 5860123"/>
              <a:gd name="connsiteY2012" fmla="*/ 1072911 h 4856353"/>
              <a:gd name="connsiteX2013" fmla="*/ 2037026 w 5860123"/>
              <a:gd name="connsiteY2013" fmla="*/ 1072911 h 4856353"/>
              <a:gd name="connsiteX2014" fmla="*/ 2046551 w 5860123"/>
              <a:gd name="connsiteY2014" fmla="*/ 1073863 h 4856353"/>
              <a:gd name="connsiteX2015" fmla="*/ 2053219 w 5860123"/>
              <a:gd name="connsiteY2015" fmla="*/ 1076721 h 4856353"/>
              <a:gd name="connsiteX2016" fmla="*/ 2067506 w 5860123"/>
              <a:gd name="connsiteY2016" fmla="*/ 1080531 h 4856353"/>
              <a:gd name="connsiteX2017" fmla="*/ 2077984 w 5860123"/>
              <a:gd name="connsiteY2017" fmla="*/ 1083388 h 4856353"/>
              <a:gd name="connsiteX2018" fmla="*/ 2087509 w 5860123"/>
              <a:gd name="connsiteY2018" fmla="*/ 1086246 h 4856353"/>
              <a:gd name="connsiteX2019" fmla="*/ 2094176 w 5860123"/>
              <a:gd name="connsiteY2019" fmla="*/ 1089103 h 4856353"/>
              <a:gd name="connsiteX2020" fmla="*/ 2107511 w 5860123"/>
              <a:gd name="connsiteY2020" fmla="*/ 1093866 h 4856353"/>
              <a:gd name="connsiteX2021" fmla="*/ 2114179 w 5860123"/>
              <a:gd name="connsiteY2021" fmla="*/ 1099581 h 4856353"/>
              <a:gd name="connsiteX2022" fmla="*/ 2119894 w 5860123"/>
              <a:gd name="connsiteY2022" fmla="*/ 1107201 h 4856353"/>
              <a:gd name="connsiteX2023" fmla="*/ 2123704 w 5860123"/>
              <a:gd name="connsiteY2023" fmla="*/ 1111963 h 4856353"/>
              <a:gd name="connsiteX2024" fmla="*/ 2132276 w 5860123"/>
              <a:gd name="connsiteY2024" fmla="*/ 1118631 h 4856353"/>
              <a:gd name="connsiteX2025" fmla="*/ 2143706 w 5860123"/>
              <a:gd name="connsiteY2025" fmla="*/ 1126251 h 4856353"/>
              <a:gd name="connsiteX2026" fmla="*/ 2147516 w 5860123"/>
              <a:gd name="connsiteY2026" fmla="*/ 1130061 h 4856353"/>
              <a:gd name="connsiteX2027" fmla="*/ 2154184 w 5860123"/>
              <a:gd name="connsiteY2027" fmla="*/ 1135773 h 4856353"/>
              <a:gd name="connsiteX2028" fmla="*/ 2161804 w 5860123"/>
              <a:gd name="connsiteY2028" fmla="*/ 1144345 h 4856353"/>
              <a:gd name="connsiteX2029" fmla="*/ 2164661 w 5860123"/>
              <a:gd name="connsiteY2029" fmla="*/ 1148155 h 4856353"/>
              <a:gd name="connsiteX2030" fmla="*/ 2168471 w 5860123"/>
              <a:gd name="connsiteY2030" fmla="*/ 1152918 h 4856353"/>
              <a:gd name="connsiteX2031" fmla="*/ 2171329 w 5860123"/>
              <a:gd name="connsiteY2031" fmla="*/ 1159585 h 4856353"/>
              <a:gd name="connsiteX2032" fmla="*/ 2176091 w 5860123"/>
              <a:gd name="connsiteY2032" fmla="*/ 1165300 h 4856353"/>
              <a:gd name="connsiteX2033" fmla="*/ 2184664 w 5860123"/>
              <a:gd name="connsiteY2033" fmla="*/ 1170063 h 4856353"/>
              <a:gd name="connsiteX2034" fmla="*/ 2188474 w 5860123"/>
              <a:gd name="connsiteY2034" fmla="*/ 1176730 h 4856353"/>
              <a:gd name="connsiteX2035" fmla="*/ 2195141 w 5860123"/>
              <a:gd name="connsiteY2035" fmla="*/ 1185303 h 4856353"/>
              <a:gd name="connsiteX2036" fmla="*/ 2204666 w 5860123"/>
              <a:gd name="connsiteY2036" fmla="*/ 1196733 h 4856353"/>
              <a:gd name="connsiteX2037" fmla="*/ 2208476 w 5860123"/>
              <a:gd name="connsiteY2037" fmla="*/ 1199590 h 4856353"/>
              <a:gd name="connsiteX2038" fmla="*/ 2218001 w 5860123"/>
              <a:gd name="connsiteY2038" fmla="*/ 1204353 h 4856353"/>
              <a:gd name="connsiteX2039" fmla="*/ 2227526 w 5860123"/>
              <a:gd name="connsiteY2039" fmla="*/ 1210068 h 4856353"/>
              <a:gd name="connsiteX2040" fmla="*/ 2236099 w 5860123"/>
              <a:gd name="connsiteY2040" fmla="*/ 1211973 h 4856353"/>
              <a:gd name="connsiteX2041" fmla="*/ 2248481 w 5860123"/>
              <a:gd name="connsiteY2041" fmla="*/ 1211973 h 4856353"/>
              <a:gd name="connsiteX2042" fmla="*/ 2261816 w 5860123"/>
              <a:gd name="connsiteY2042" fmla="*/ 1211973 h 4856353"/>
              <a:gd name="connsiteX2043" fmla="*/ 2262769 w 5860123"/>
              <a:gd name="connsiteY2043" fmla="*/ 1220545 h 4856353"/>
              <a:gd name="connsiteX2044" fmla="*/ 2258006 w 5860123"/>
              <a:gd name="connsiteY2044" fmla="*/ 1230070 h 4856353"/>
              <a:gd name="connsiteX2045" fmla="*/ 2256101 w 5860123"/>
              <a:gd name="connsiteY2045" fmla="*/ 1239595 h 4856353"/>
              <a:gd name="connsiteX2046" fmla="*/ 2260864 w 5860123"/>
              <a:gd name="connsiteY2046" fmla="*/ 1249120 h 4856353"/>
              <a:gd name="connsiteX2047" fmla="*/ 2274199 w 5860123"/>
              <a:gd name="connsiteY2047" fmla="*/ 1263408 h 4856353"/>
              <a:gd name="connsiteX2048" fmla="*/ 2276104 w 5860123"/>
              <a:gd name="connsiteY2048" fmla="*/ 1278648 h 4856353"/>
              <a:gd name="connsiteX2049" fmla="*/ 2278961 w 5860123"/>
              <a:gd name="connsiteY2049" fmla="*/ 1293888 h 4856353"/>
              <a:gd name="connsiteX2050" fmla="*/ 2282771 w 5860123"/>
              <a:gd name="connsiteY2050" fmla="*/ 1310080 h 4856353"/>
              <a:gd name="connsiteX2051" fmla="*/ 2286581 w 5860123"/>
              <a:gd name="connsiteY2051" fmla="*/ 1325320 h 4856353"/>
              <a:gd name="connsiteX2052" fmla="*/ 2287534 w 5860123"/>
              <a:gd name="connsiteY2052" fmla="*/ 1331035 h 4856353"/>
              <a:gd name="connsiteX2053" fmla="*/ 2288486 w 5860123"/>
              <a:gd name="connsiteY2053" fmla="*/ 1341513 h 4856353"/>
              <a:gd name="connsiteX2054" fmla="*/ 2289439 w 5860123"/>
              <a:gd name="connsiteY2054" fmla="*/ 1354848 h 4856353"/>
              <a:gd name="connsiteX2055" fmla="*/ 2297059 w 5860123"/>
              <a:gd name="connsiteY2055" fmla="*/ 1367230 h 4856353"/>
              <a:gd name="connsiteX2056" fmla="*/ 2305631 w 5860123"/>
              <a:gd name="connsiteY2056" fmla="*/ 1378660 h 4856353"/>
              <a:gd name="connsiteX2057" fmla="*/ 2308489 w 5860123"/>
              <a:gd name="connsiteY2057" fmla="*/ 1382470 h 4856353"/>
              <a:gd name="connsiteX2058" fmla="*/ 2315156 w 5860123"/>
              <a:gd name="connsiteY2058" fmla="*/ 1391043 h 4856353"/>
              <a:gd name="connsiteX2059" fmla="*/ 2322776 w 5860123"/>
              <a:gd name="connsiteY2059" fmla="*/ 1401520 h 4856353"/>
              <a:gd name="connsiteX2060" fmla="*/ 2326586 w 5860123"/>
              <a:gd name="connsiteY2060" fmla="*/ 1407235 h 4856353"/>
              <a:gd name="connsiteX2061" fmla="*/ 2329444 w 5860123"/>
              <a:gd name="connsiteY2061" fmla="*/ 1415808 h 4856353"/>
              <a:gd name="connsiteX2062" fmla="*/ 2330396 w 5860123"/>
              <a:gd name="connsiteY2062" fmla="*/ 1424380 h 4856353"/>
              <a:gd name="connsiteX2063" fmla="*/ 2339921 w 5860123"/>
              <a:gd name="connsiteY2063" fmla="*/ 1436763 h 4856353"/>
              <a:gd name="connsiteX2064" fmla="*/ 2354209 w 5860123"/>
              <a:gd name="connsiteY2064" fmla="*/ 1437715 h 4856353"/>
              <a:gd name="connsiteX2065" fmla="*/ 2371354 w 5860123"/>
              <a:gd name="connsiteY2065" fmla="*/ 1438668 h 4856353"/>
              <a:gd name="connsiteX2066" fmla="*/ 2390404 w 5860123"/>
              <a:gd name="connsiteY2066" fmla="*/ 1437715 h 4856353"/>
              <a:gd name="connsiteX2067" fmla="*/ 2404691 w 5860123"/>
              <a:gd name="connsiteY2067" fmla="*/ 1436763 h 4856353"/>
              <a:gd name="connsiteX2068" fmla="*/ 2419931 w 5860123"/>
              <a:gd name="connsiteY2068" fmla="*/ 1440573 h 4856353"/>
              <a:gd name="connsiteX2069" fmla="*/ 2423741 w 5860123"/>
              <a:gd name="connsiteY2069" fmla="*/ 1442478 h 4856353"/>
              <a:gd name="connsiteX2070" fmla="*/ 2435171 w 5860123"/>
              <a:gd name="connsiteY2070" fmla="*/ 1447240 h 4856353"/>
              <a:gd name="connsiteX2071" fmla="*/ 2451364 w 5860123"/>
              <a:gd name="connsiteY2071" fmla="*/ 1452955 h 4856353"/>
              <a:gd name="connsiteX2072" fmla="*/ 2456126 w 5860123"/>
              <a:gd name="connsiteY2072" fmla="*/ 1455813 h 4856353"/>
              <a:gd name="connsiteX2073" fmla="*/ 2470414 w 5860123"/>
              <a:gd name="connsiteY2073" fmla="*/ 1460575 h 4856353"/>
              <a:gd name="connsiteX2074" fmla="*/ 2485654 w 5860123"/>
              <a:gd name="connsiteY2074" fmla="*/ 1466290 h 4856353"/>
              <a:gd name="connsiteX2075" fmla="*/ 2498989 w 5860123"/>
              <a:gd name="connsiteY2075" fmla="*/ 1470100 h 4856353"/>
              <a:gd name="connsiteX2076" fmla="*/ 2515181 w 5860123"/>
              <a:gd name="connsiteY2076" fmla="*/ 1472958 h 4856353"/>
              <a:gd name="connsiteX2077" fmla="*/ 2527564 w 5860123"/>
              <a:gd name="connsiteY2077" fmla="*/ 1475815 h 4856353"/>
              <a:gd name="connsiteX2078" fmla="*/ 2538994 w 5860123"/>
              <a:gd name="connsiteY2078" fmla="*/ 1478673 h 4856353"/>
              <a:gd name="connsiteX2079" fmla="*/ 2555186 w 5860123"/>
              <a:gd name="connsiteY2079" fmla="*/ 1481530 h 4856353"/>
              <a:gd name="connsiteX2080" fmla="*/ 2566616 w 5860123"/>
              <a:gd name="connsiteY2080" fmla="*/ 1484388 h 4856353"/>
              <a:gd name="connsiteX2081" fmla="*/ 2578999 w 5860123"/>
              <a:gd name="connsiteY2081" fmla="*/ 1487245 h 4856353"/>
              <a:gd name="connsiteX2082" fmla="*/ 2594239 w 5860123"/>
              <a:gd name="connsiteY2082" fmla="*/ 1490103 h 4856353"/>
              <a:gd name="connsiteX2083" fmla="*/ 2610431 w 5860123"/>
              <a:gd name="connsiteY2083" fmla="*/ 1492960 h 4856353"/>
              <a:gd name="connsiteX2084" fmla="*/ 2623766 w 5860123"/>
              <a:gd name="connsiteY2084" fmla="*/ 1493913 h 4856353"/>
              <a:gd name="connsiteX2085" fmla="*/ 2645674 w 5860123"/>
              <a:gd name="connsiteY2085" fmla="*/ 1492008 h 4856353"/>
              <a:gd name="connsiteX2086" fmla="*/ 2657104 w 5860123"/>
              <a:gd name="connsiteY2086" fmla="*/ 1491055 h 4856353"/>
              <a:gd name="connsiteX2087" fmla="*/ 2675201 w 5860123"/>
              <a:gd name="connsiteY2087" fmla="*/ 1490103 h 4856353"/>
              <a:gd name="connsiteX2088" fmla="*/ 2683774 w 5860123"/>
              <a:gd name="connsiteY2088" fmla="*/ 1490103 h 4856353"/>
              <a:gd name="connsiteX2089" fmla="*/ 2696156 w 5860123"/>
              <a:gd name="connsiteY2089" fmla="*/ 1489150 h 4856353"/>
              <a:gd name="connsiteX2090" fmla="*/ 2704729 w 5860123"/>
              <a:gd name="connsiteY2090" fmla="*/ 1486293 h 4856353"/>
              <a:gd name="connsiteX2091" fmla="*/ 2721874 w 5860123"/>
              <a:gd name="connsiteY2091" fmla="*/ 1487245 h 4856353"/>
              <a:gd name="connsiteX2092" fmla="*/ 2733304 w 5860123"/>
              <a:gd name="connsiteY2092" fmla="*/ 1488198 h 4856353"/>
              <a:gd name="connsiteX2093" fmla="*/ 2742829 w 5860123"/>
              <a:gd name="connsiteY2093" fmla="*/ 1490103 h 4856353"/>
              <a:gd name="connsiteX2094" fmla="*/ 2750449 w 5860123"/>
              <a:gd name="connsiteY2094" fmla="*/ 1492960 h 4856353"/>
              <a:gd name="connsiteX2095" fmla="*/ 2759974 w 5860123"/>
              <a:gd name="connsiteY2095" fmla="*/ 1495818 h 4856353"/>
              <a:gd name="connsiteX2096" fmla="*/ 2779024 w 5860123"/>
              <a:gd name="connsiteY2096" fmla="*/ 1502485 h 4856353"/>
              <a:gd name="connsiteX2097" fmla="*/ 2783786 w 5860123"/>
              <a:gd name="connsiteY2097" fmla="*/ 1504390 h 4856353"/>
              <a:gd name="connsiteX2098" fmla="*/ 2796169 w 5860123"/>
              <a:gd name="connsiteY2098" fmla="*/ 1509153 h 4856353"/>
              <a:gd name="connsiteX2099" fmla="*/ 2812361 w 5860123"/>
              <a:gd name="connsiteY2099" fmla="*/ 1514868 h 4856353"/>
              <a:gd name="connsiteX2100" fmla="*/ 2827601 w 5860123"/>
              <a:gd name="connsiteY2100" fmla="*/ 1520583 h 4856353"/>
              <a:gd name="connsiteX2101" fmla="*/ 2839984 w 5860123"/>
              <a:gd name="connsiteY2101" fmla="*/ 1523440 h 4856353"/>
              <a:gd name="connsiteX2102" fmla="*/ 2851414 w 5860123"/>
              <a:gd name="connsiteY2102" fmla="*/ 1530108 h 4856353"/>
              <a:gd name="connsiteX2103" fmla="*/ 2856176 w 5860123"/>
              <a:gd name="connsiteY2103" fmla="*/ 1537728 h 4856353"/>
              <a:gd name="connsiteX2104" fmla="*/ 2862844 w 5860123"/>
              <a:gd name="connsiteY2104" fmla="*/ 1550110 h 4856353"/>
              <a:gd name="connsiteX2105" fmla="*/ 2864749 w 5860123"/>
              <a:gd name="connsiteY2105" fmla="*/ 1554873 h 4856353"/>
              <a:gd name="connsiteX2106" fmla="*/ 2878084 w 5860123"/>
              <a:gd name="connsiteY2106" fmla="*/ 1569160 h 4856353"/>
              <a:gd name="connsiteX2107" fmla="*/ 2894276 w 5860123"/>
              <a:gd name="connsiteY2107" fmla="*/ 1573923 h 4856353"/>
              <a:gd name="connsiteX2108" fmla="*/ 2913326 w 5860123"/>
              <a:gd name="connsiteY2108" fmla="*/ 1574875 h 4856353"/>
              <a:gd name="connsiteX2109" fmla="*/ 2925709 w 5860123"/>
              <a:gd name="connsiteY2109" fmla="*/ 1576780 h 4856353"/>
              <a:gd name="connsiteX2110" fmla="*/ 2939044 w 5860123"/>
              <a:gd name="connsiteY2110" fmla="*/ 1582495 h 4856353"/>
              <a:gd name="connsiteX2111" fmla="*/ 2950474 w 5860123"/>
              <a:gd name="connsiteY2111" fmla="*/ 1590115 h 4856353"/>
              <a:gd name="connsiteX2112" fmla="*/ 2959999 w 5860123"/>
              <a:gd name="connsiteY2112" fmla="*/ 1596783 h 4856353"/>
              <a:gd name="connsiteX2113" fmla="*/ 2973334 w 5860123"/>
              <a:gd name="connsiteY2113" fmla="*/ 1605355 h 4856353"/>
              <a:gd name="connsiteX2114" fmla="*/ 2982859 w 5860123"/>
              <a:gd name="connsiteY2114" fmla="*/ 1611070 h 4856353"/>
              <a:gd name="connsiteX2115" fmla="*/ 2990479 w 5860123"/>
              <a:gd name="connsiteY2115" fmla="*/ 1616785 h 4856353"/>
              <a:gd name="connsiteX2116" fmla="*/ 3000956 w 5860123"/>
              <a:gd name="connsiteY2116" fmla="*/ 1623453 h 4856353"/>
              <a:gd name="connsiteX2117" fmla="*/ 3018101 w 5860123"/>
              <a:gd name="connsiteY2117" fmla="*/ 1631073 h 4856353"/>
              <a:gd name="connsiteX2118" fmla="*/ 3029531 w 5860123"/>
              <a:gd name="connsiteY2118" fmla="*/ 1635835 h 4856353"/>
              <a:gd name="connsiteX2119" fmla="*/ 3041914 w 5860123"/>
              <a:gd name="connsiteY2119" fmla="*/ 1636788 h 4856353"/>
              <a:gd name="connsiteX2120" fmla="*/ 3058106 w 5860123"/>
              <a:gd name="connsiteY2120" fmla="*/ 1636788 h 4856353"/>
              <a:gd name="connsiteX2121" fmla="*/ 3075251 w 5860123"/>
              <a:gd name="connsiteY2121" fmla="*/ 1633930 h 4856353"/>
              <a:gd name="connsiteX2122" fmla="*/ 3088586 w 5860123"/>
              <a:gd name="connsiteY2122" fmla="*/ 1632025 h 4856353"/>
              <a:gd name="connsiteX2123" fmla="*/ 3100969 w 5860123"/>
              <a:gd name="connsiteY2123" fmla="*/ 1630120 h 4856353"/>
              <a:gd name="connsiteX2124" fmla="*/ 3108589 w 5860123"/>
              <a:gd name="connsiteY2124" fmla="*/ 1634883 h 4856353"/>
              <a:gd name="connsiteX2125" fmla="*/ 3108589 w 5860123"/>
              <a:gd name="connsiteY2125" fmla="*/ 1652980 h 4856353"/>
              <a:gd name="connsiteX2126" fmla="*/ 3119066 w 5860123"/>
              <a:gd name="connsiteY2126" fmla="*/ 1661553 h 4856353"/>
              <a:gd name="connsiteX2127" fmla="*/ 3132401 w 5860123"/>
              <a:gd name="connsiteY2127" fmla="*/ 1659648 h 4856353"/>
              <a:gd name="connsiteX2128" fmla="*/ 3137164 w 5860123"/>
              <a:gd name="connsiteY2128" fmla="*/ 1659648 h 4856353"/>
              <a:gd name="connsiteX2129" fmla="*/ 3146689 w 5860123"/>
              <a:gd name="connsiteY2129" fmla="*/ 1662505 h 4856353"/>
              <a:gd name="connsiteX2130" fmla="*/ 3160976 w 5860123"/>
              <a:gd name="connsiteY2130" fmla="*/ 1665363 h 4856353"/>
              <a:gd name="connsiteX2131" fmla="*/ 3165739 w 5860123"/>
              <a:gd name="connsiteY2131" fmla="*/ 1661553 h 4856353"/>
              <a:gd name="connsiteX2132" fmla="*/ 3173359 w 5860123"/>
              <a:gd name="connsiteY2132" fmla="*/ 1654885 h 4856353"/>
              <a:gd name="connsiteX2133" fmla="*/ 3184789 w 5860123"/>
              <a:gd name="connsiteY2133" fmla="*/ 1648218 h 4856353"/>
              <a:gd name="connsiteX2134" fmla="*/ 3200029 w 5860123"/>
              <a:gd name="connsiteY2134" fmla="*/ 1640598 h 4856353"/>
              <a:gd name="connsiteX2135" fmla="*/ 3212411 w 5860123"/>
              <a:gd name="connsiteY2135" fmla="*/ 1634883 h 4856353"/>
              <a:gd name="connsiteX2136" fmla="*/ 3226699 w 5860123"/>
              <a:gd name="connsiteY2136" fmla="*/ 1628215 h 4856353"/>
              <a:gd name="connsiteX2137" fmla="*/ 3232414 w 5860123"/>
              <a:gd name="connsiteY2137" fmla="*/ 1625358 h 4856353"/>
              <a:gd name="connsiteX2138" fmla="*/ 3246701 w 5860123"/>
              <a:gd name="connsiteY2138" fmla="*/ 1619643 h 4856353"/>
              <a:gd name="connsiteX2139" fmla="*/ 3262894 w 5860123"/>
              <a:gd name="connsiteY2139" fmla="*/ 1612023 h 4856353"/>
              <a:gd name="connsiteX2140" fmla="*/ 3269561 w 5860123"/>
              <a:gd name="connsiteY2140" fmla="*/ 1609165 h 4856353"/>
              <a:gd name="connsiteX2141" fmla="*/ 3284801 w 5860123"/>
              <a:gd name="connsiteY2141" fmla="*/ 1603450 h 4856353"/>
              <a:gd name="connsiteX2142" fmla="*/ 3300041 w 5860123"/>
              <a:gd name="connsiteY2142" fmla="*/ 1596783 h 4856353"/>
              <a:gd name="connsiteX2143" fmla="*/ 3305756 w 5860123"/>
              <a:gd name="connsiteY2143" fmla="*/ 1594878 h 4856353"/>
              <a:gd name="connsiteX2144" fmla="*/ 3316234 w 5860123"/>
              <a:gd name="connsiteY2144" fmla="*/ 1591068 h 4856353"/>
              <a:gd name="connsiteX2145" fmla="*/ 3331474 w 5860123"/>
              <a:gd name="connsiteY2145" fmla="*/ 1586305 h 4856353"/>
              <a:gd name="connsiteX2146" fmla="*/ 3337189 w 5860123"/>
              <a:gd name="connsiteY2146" fmla="*/ 1585353 h 4856353"/>
              <a:gd name="connsiteX2147" fmla="*/ 3347666 w 5860123"/>
              <a:gd name="connsiteY2147" fmla="*/ 1584400 h 4856353"/>
              <a:gd name="connsiteX2148" fmla="*/ 3359096 w 5860123"/>
              <a:gd name="connsiteY2148" fmla="*/ 1580590 h 4856353"/>
              <a:gd name="connsiteX2149" fmla="*/ 3370526 w 5860123"/>
              <a:gd name="connsiteY2149" fmla="*/ 1577733 h 4856353"/>
              <a:gd name="connsiteX2150" fmla="*/ 3380051 w 5860123"/>
              <a:gd name="connsiteY2150" fmla="*/ 1572018 h 4856353"/>
              <a:gd name="connsiteX2151" fmla="*/ 3388624 w 5860123"/>
              <a:gd name="connsiteY2151" fmla="*/ 1566303 h 4856353"/>
              <a:gd name="connsiteX2152" fmla="*/ 3400054 w 5860123"/>
              <a:gd name="connsiteY2152" fmla="*/ 1564398 h 4856353"/>
              <a:gd name="connsiteX2153" fmla="*/ 3407674 w 5860123"/>
              <a:gd name="connsiteY2153" fmla="*/ 1568208 h 4856353"/>
              <a:gd name="connsiteX2154" fmla="*/ 3418151 w 5860123"/>
              <a:gd name="connsiteY2154" fmla="*/ 1570113 h 4856353"/>
              <a:gd name="connsiteX2155" fmla="*/ 3440059 w 5860123"/>
              <a:gd name="connsiteY2155" fmla="*/ 1571065 h 4856353"/>
              <a:gd name="connsiteX2156" fmla="*/ 3448631 w 5860123"/>
              <a:gd name="connsiteY2156" fmla="*/ 1569160 h 4856353"/>
              <a:gd name="connsiteX2157" fmla="*/ 3457204 w 5860123"/>
              <a:gd name="connsiteY2157" fmla="*/ 1568208 h 4856353"/>
              <a:gd name="connsiteX2158" fmla="*/ 3476254 w 5860123"/>
              <a:gd name="connsiteY2158" fmla="*/ 1566303 h 4856353"/>
              <a:gd name="connsiteX2159" fmla="*/ 3496256 w 5860123"/>
              <a:gd name="connsiteY2159" fmla="*/ 1569160 h 4856353"/>
              <a:gd name="connsiteX2160" fmla="*/ 3504829 w 5860123"/>
              <a:gd name="connsiteY2160" fmla="*/ 1571065 h 4856353"/>
              <a:gd name="connsiteX2161" fmla="*/ 3519116 w 5860123"/>
              <a:gd name="connsiteY2161" fmla="*/ 1573923 h 4856353"/>
              <a:gd name="connsiteX2162" fmla="*/ 3535309 w 5860123"/>
              <a:gd name="connsiteY2162" fmla="*/ 1570113 h 4856353"/>
              <a:gd name="connsiteX2163" fmla="*/ 3544834 w 5860123"/>
              <a:gd name="connsiteY2163" fmla="*/ 1566303 h 4856353"/>
              <a:gd name="connsiteX2164" fmla="*/ 3549596 w 5860123"/>
              <a:gd name="connsiteY2164" fmla="*/ 1566303 h 4856353"/>
              <a:gd name="connsiteX2165" fmla="*/ 3554359 w 5860123"/>
              <a:gd name="connsiteY2165" fmla="*/ 1567255 h 4856353"/>
              <a:gd name="connsiteX2166" fmla="*/ 3563884 w 5860123"/>
              <a:gd name="connsiteY2166" fmla="*/ 1568208 h 4856353"/>
              <a:gd name="connsiteX2167" fmla="*/ 3580076 w 5860123"/>
              <a:gd name="connsiteY2167" fmla="*/ 1570113 h 4856353"/>
              <a:gd name="connsiteX2168" fmla="*/ 3582934 w 5860123"/>
              <a:gd name="connsiteY2168" fmla="*/ 1570113 h 4856353"/>
              <a:gd name="connsiteX2169" fmla="*/ 3593411 w 5860123"/>
              <a:gd name="connsiteY2169" fmla="*/ 1567255 h 4856353"/>
              <a:gd name="connsiteX2170" fmla="*/ 3603889 w 5860123"/>
              <a:gd name="connsiteY2170" fmla="*/ 1556778 h 4856353"/>
              <a:gd name="connsiteX2171" fmla="*/ 3607699 w 5860123"/>
              <a:gd name="connsiteY2171" fmla="*/ 1553920 h 4856353"/>
              <a:gd name="connsiteX2172" fmla="*/ 3617224 w 5860123"/>
              <a:gd name="connsiteY2172" fmla="*/ 1544395 h 4856353"/>
              <a:gd name="connsiteX2173" fmla="*/ 3633416 w 5860123"/>
              <a:gd name="connsiteY2173" fmla="*/ 1537728 h 4856353"/>
              <a:gd name="connsiteX2174" fmla="*/ 3654371 w 5860123"/>
              <a:gd name="connsiteY2174" fmla="*/ 1533918 h 4856353"/>
              <a:gd name="connsiteX2175" fmla="*/ 3674374 w 5860123"/>
              <a:gd name="connsiteY2175" fmla="*/ 1521535 h 4856353"/>
              <a:gd name="connsiteX2176" fmla="*/ 3685804 w 5860123"/>
              <a:gd name="connsiteY2176" fmla="*/ 1512010 h 4856353"/>
              <a:gd name="connsiteX2177" fmla="*/ 3701996 w 5860123"/>
              <a:gd name="connsiteY2177" fmla="*/ 1492960 h 4856353"/>
              <a:gd name="connsiteX2178" fmla="*/ 3713426 w 5860123"/>
              <a:gd name="connsiteY2178" fmla="*/ 1475815 h 4856353"/>
              <a:gd name="connsiteX2179" fmla="*/ 3727714 w 5860123"/>
              <a:gd name="connsiteY2179" fmla="*/ 1455813 h 4856353"/>
              <a:gd name="connsiteX2180" fmla="*/ 3742954 w 5860123"/>
              <a:gd name="connsiteY2180" fmla="*/ 1441525 h 4856353"/>
              <a:gd name="connsiteX2181" fmla="*/ 3761051 w 5860123"/>
              <a:gd name="connsiteY2181" fmla="*/ 1432953 h 4856353"/>
              <a:gd name="connsiteX2182" fmla="*/ 3780101 w 5860123"/>
              <a:gd name="connsiteY2182" fmla="*/ 1421523 h 4856353"/>
              <a:gd name="connsiteX2183" fmla="*/ 3792484 w 5860123"/>
              <a:gd name="connsiteY2183" fmla="*/ 1418665 h 4856353"/>
              <a:gd name="connsiteX2184" fmla="*/ 3806771 w 5860123"/>
              <a:gd name="connsiteY2184" fmla="*/ 1403425 h 4856353"/>
              <a:gd name="connsiteX2185" fmla="*/ 3819154 w 5860123"/>
              <a:gd name="connsiteY2185" fmla="*/ 1393900 h 4856353"/>
              <a:gd name="connsiteX2186" fmla="*/ 3830584 w 5860123"/>
              <a:gd name="connsiteY2186" fmla="*/ 1382470 h 4856353"/>
              <a:gd name="connsiteX2187" fmla="*/ 3822964 w 5860123"/>
              <a:gd name="connsiteY2187" fmla="*/ 1363420 h 4856353"/>
              <a:gd name="connsiteX2188" fmla="*/ 3806771 w 5860123"/>
              <a:gd name="connsiteY2188" fmla="*/ 1348180 h 4856353"/>
              <a:gd name="connsiteX2189" fmla="*/ 3788674 w 5860123"/>
              <a:gd name="connsiteY2189" fmla="*/ 1329130 h 4856353"/>
              <a:gd name="connsiteX2190" fmla="*/ 3785816 w 5860123"/>
              <a:gd name="connsiteY2190" fmla="*/ 1313890 h 4856353"/>
              <a:gd name="connsiteX2191" fmla="*/ 3777244 w 5860123"/>
              <a:gd name="connsiteY2191" fmla="*/ 1299603 h 4856353"/>
              <a:gd name="connsiteX2192" fmla="*/ 3785816 w 5860123"/>
              <a:gd name="connsiteY2192" fmla="*/ 1275790 h 4856353"/>
              <a:gd name="connsiteX2193" fmla="*/ 3790579 w 5860123"/>
              <a:gd name="connsiteY2193" fmla="*/ 1258645 h 4856353"/>
              <a:gd name="connsiteX2194" fmla="*/ 3804866 w 5860123"/>
              <a:gd name="connsiteY2194" fmla="*/ 1219593 h 4856353"/>
              <a:gd name="connsiteX2195" fmla="*/ 3823916 w 5860123"/>
              <a:gd name="connsiteY2195" fmla="*/ 1201495 h 4856353"/>
              <a:gd name="connsiteX2196" fmla="*/ 3840109 w 5860123"/>
              <a:gd name="connsiteY2196" fmla="*/ 1200543 h 4856353"/>
              <a:gd name="connsiteX2197" fmla="*/ 3865826 w 5860123"/>
              <a:gd name="connsiteY2197" fmla="*/ 1201495 h 4856353"/>
              <a:gd name="connsiteX2198" fmla="*/ 3881066 w 5860123"/>
              <a:gd name="connsiteY2198" fmla="*/ 1210068 h 4856353"/>
              <a:gd name="connsiteX2199" fmla="*/ 3900116 w 5860123"/>
              <a:gd name="connsiteY2199" fmla="*/ 1226260 h 4856353"/>
              <a:gd name="connsiteX2200" fmla="*/ 3926786 w 5860123"/>
              <a:gd name="connsiteY2200" fmla="*/ 1232928 h 4856353"/>
              <a:gd name="connsiteX2201" fmla="*/ 3944884 w 5860123"/>
              <a:gd name="connsiteY2201" fmla="*/ 1235785 h 4856353"/>
              <a:gd name="connsiteX2202" fmla="*/ 3968696 w 5860123"/>
              <a:gd name="connsiteY2202" fmla="*/ 1238643 h 4856353"/>
              <a:gd name="connsiteX2203" fmla="*/ 3990604 w 5860123"/>
              <a:gd name="connsiteY2203" fmla="*/ 1238643 h 4856353"/>
              <a:gd name="connsiteX2204" fmla="*/ 4013464 w 5860123"/>
              <a:gd name="connsiteY2204" fmla="*/ 1217688 h 4856353"/>
              <a:gd name="connsiteX2205" fmla="*/ 4030609 w 5860123"/>
              <a:gd name="connsiteY2205" fmla="*/ 1206258 h 4856353"/>
              <a:gd name="connsiteX2206" fmla="*/ 4045849 w 5860123"/>
              <a:gd name="connsiteY2206" fmla="*/ 1190065 h 4856353"/>
              <a:gd name="connsiteX2207" fmla="*/ 4062994 w 5860123"/>
              <a:gd name="connsiteY2207" fmla="*/ 1166253 h 4856353"/>
              <a:gd name="connsiteX2208" fmla="*/ 4065851 w 5860123"/>
              <a:gd name="connsiteY2208" fmla="*/ 1151965 h 4856353"/>
              <a:gd name="connsiteX2209" fmla="*/ 4082044 w 5860123"/>
              <a:gd name="connsiteY2209" fmla="*/ 1143393 h 4856353"/>
              <a:gd name="connsiteX2210" fmla="*/ 4092521 w 5860123"/>
              <a:gd name="connsiteY2210" fmla="*/ 1145298 h 4856353"/>
              <a:gd name="connsiteX2211" fmla="*/ 4105856 w 5860123"/>
              <a:gd name="connsiteY2211" fmla="*/ 1148155 h 4856353"/>
              <a:gd name="connsiteX2212" fmla="*/ 4125859 w 5860123"/>
              <a:gd name="connsiteY2212" fmla="*/ 1146250 h 4856353"/>
              <a:gd name="connsiteX2213" fmla="*/ 4155386 w 5860123"/>
              <a:gd name="connsiteY2213" fmla="*/ 1141488 h 4856353"/>
              <a:gd name="connsiteX2214" fmla="*/ 4175389 w 5860123"/>
              <a:gd name="connsiteY2214" fmla="*/ 1129108 h 4856353"/>
              <a:gd name="connsiteX2215" fmla="*/ 4200154 w 5860123"/>
              <a:gd name="connsiteY2215" fmla="*/ 1105296 h 4856353"/>
              <a:gd name="connsiteX2216" fmla="*/ 4215394 w 5860123"/>
              <a:gd name="connsiteY2216" fmla="*/ 1099581 h 4856353"/>
              <a:gd name="connsiteX2217" fmla="*/ 4223014 w 5860123"/>
              <a:gd name="connsiteY2217" fmla="*/ 1082436 h 4856353"/>
              <a:gd name="connsiteX2218" fmla="*/ 4222062 w 5860123"/>
              <a:gd name="connsiteY2218" fmla="*/ 1063386 h 4856353"/>
              <a:gd name="connsiteX2219" fmla="*/ 4234444 w 5860123"/>
              <a:gd name="connsiteY2219" fmla="*/ 1042431 h 4856353"/>
              <a:gd name="connsiteX2220" fmla="*/ 4253494 w 5860123"/>
              <a:gd name="connsiteY2220" fmla="*/ 1016713 h 4856353"/>
              <a:gd name="connsiteX2221" fmla="*/ 4278259 w 5860123"/>
              <a:gd name="connsiteY2221" fmla="*/ 1006236 h 4856353"/>
              <a:gd name="connsiteX2222" fmla="*/ 4317312 w 5860123"/>
              <a:gd name="connsiteY2222" fmla="*/ 1004331 h 4856353"/>
              <a:gd name="connsiteX2223" fmla="*/ 4324931 w 5860123"/>
              <a:gd name="connsiteY2223" fmla="*/ 983376 h 4856353"/>
              <a:gd name="connsiteX2224" fmla="*/ 4332552 w 5860123"/>
              <a:gd name="connsiteY2224" fmla="*/ 973851 h 4856353"/>
              <a:gd name="connsiteX2225" fmla="*/ 4343981 w 5860123"/>
              <a:gd name="connsiteY2225" fmla="*/ 974803 h 4856353"/>
              <a:gd name="connsiteX2226" fmla="*/ 4358269 w 5860123"/>
              <a:gd name="connsiteY2226" fmla="*/ 981471 h 4856353"/>
              <a:gd name="connsiteX2227" fmla="*/ 4364937 w 5860123"/>
              <a:gd name="connsiteY2227" fmla="*/ 975756 h 4856353"/>
              <a:gd name="connsiteX2228" fmla="*/ 4385891 w 5860123"/>
              <a:gd name="connsiteY2228" fmla="*/ 958611 h 4856353"/>
              <a:gd name="connsiteX2229" fmla="*/ 4403037 w 5860123"/>
              <a:gd name="connsiteY2229" fmla="*/ 950038 h 4856353"/>
              <a:gd name="connsiteX2230" fmla="*/ 4417324 w 5860123"/>
              <a:gd name="connsiteY2230" fmla="*/ 949086 h 4856353"/>
              <a:gd name="connsiteX2231" fmla="*/ 4434469 w 5860123"/>
              <a:gd name="connsiteY2231" fmla="*/ 948133 h 4856353"/>
              <a:gd name="connsiteX2232" fmla="*/ 4447804 w 5860123"/>
              <a:gd name="connsiteY2232" fmla="*/ 947181 h 4856353"/>
              <a:gd name="connsiteX2233" fmla="*/ 4457329 w 5860123"/>
              <a:gd name="connsiteY2233" fmla="*/ 938608 h 4856353"/>
              <a:gd name="connsiteX2234" fmla="*/ 4466854 w 5860123"/>
              <a:gd name="connsiteY2234" fmla="*/ 943371 h 4856353"/>
              <a:gd name="connsiteX2235" fmla="*/ 4483047 w 5860123"/>
              <a:gd name="connsiteY2235" fmla="*/ 952896 h 4856353"/>
              <a:gd name="connsiteX2236" fmla="*/ 4495429 w 5860123"/>
              <a:gd name="connsiteY2236" fmla="*/ 953848 h 4856353"/>
              <a:gd name="connsiteX2237" fmla="*/ 4509716 w 5860123"/>
              <a:gd name="connsiteY2237" fmla="*/ 951943 h 4856353"/>
              <a:gd name="connsiteX2238" fmla="*/ 4529719 w 5860123"/>
              <a:gd name="connsiteY2238" fmla="*/ 952896 h 4856353"/>
              <a:gd name="connsiteX2239" fmla="*/ 4537339 w 5860123"/>
              <a:gd name="connsiteY2239" fmla="*/ 950991 h 4856353"/>
              <a:gd name="connsiteX2240" fmla="*/ 4542102 w 5860123"/>
              <a:gd name="connsiteY2240" fmla="*/ 942418 h 4856353"/>
              <a:gd name="connsiteX2241" fmla="*/ 4548769 w 5860123"/>
              <a:gd name="connsiteY2241" fmla="*/ 935751 h 4856353"/>
              <a:gd name="connsiteX2242" fmla="*/ 4547816 w 5860123"/>
              <a:gd name="connsiteY2242" fmla="*/ 916701 h 4856353"/>
              <a:gd name="connsiteX2243" fmla="*/ 4543054 w 5860123"/>
              <a:gd name="connsiteY2243" fmla="*/ 909081 h 4856353"/>
              <a:gd name="connsiteX2244" fmla="*/ 4537339 w 5860123"/>
              <a:gd name="connsiteY2244" fmla="*/ 892888 h 4856353"/>
              <a:gd name="connsiteX2245" fmla="*/ 4531624 w 5860123"/>
              <a:gd name="connsiteY2245" fmla="*/ 878601 h 4856353"/>
              <a:gd name="connsiteX2246" fmla="*/ 4529719 w 5860123"/>
              <a:gd name="connsiteY2246" fmla="*/ 876696 h 4856353"/>
              <a:gd name="connsiteX2247" fmla="*/ 4524004 w 5860123"/>
              <a:gd name="connsiteY2247" fmla="*/ 873838 h 4856353"/>
              <a:gd name="connsiteX2248" fmla="*/ 4512574 w 5860123"/>
              <a:gd name="connsiteY2248" fmla="*/ 865266 h 4856353"/>
              <a:gd name="connsiteX2249" fmla="*/ 4511622 w 5860123"/>
              <a:gd name="connsiteY2249" fmla="*/ 863361 h 4856353"/>
              <a:gd name="connsiteX2250" fmla="*/ 4504954 w 5860123"/>
              <a:gd name="connsiteY2250" fmla="*/ 855741 h 4856353"/>
              <a:gd name="connsiteX2251" fmla="*/ 4489714 w 5860123"/>
              <a:gd name="connsiteY2251" fmla="*/ 845263 h 4856353"/>
              <a:gd name="connsiteX2252" fmla="*/ 4486856 w 5860123"/>
              <a:gd name="connsiteY2252" fmla="*/ 839548 h 4856353"/>
              <a:gd name="connsiteX2253" fmla="*/ 4470664 w 5860123"/>
              <a:gd name="connsiteY2253" fmla="*/ 828118 h 4856353"/>
              <a:gd name="connsiteX2254" fmla="*/ 4463044 w 5860123"/>
              <a:gd name="connsiteY2254" fmla="*/ 816688 h 4856353"/>
              <a:gd name="connsiteX2255" fmla="*/ 4447804 w 5860123"/>
              <a:gd name="connsiteY2255" fmla="*/ 810021 h 4856353"/>
              <a:gd name="connsiteX2256" fmla="*/ 4436374 w 5860123"/>
              <a:gd name="connsiteY2256" fmla="*/ 808116 h 4856353"/>
              <a:gd name="connsiteX2257" fmla="*/ 4427802 w 5860123"/>
              <a:gd name="connsiteY2257" fmla="*/ 801448 h 4856353"/>
              <a:gd name="connsiteX2258" fmla="*/ 4417324 w 5860123"/>
              <a:gd name="connsiteY2258" fmla="*/ 786208 h 4856353"/>
              <a:gd name="connsiteX2259" fmla="*/ 4408752 w 5860123"/>
              <a:gd name="connsiteY2259" fmla="*/ 778588 h 4856353"/>
              <a:gd name="connsiteX2260" fmla="*/ 4399227 w 5860123"/>
              <a:gd name="connsiteY2260" fmla="*/ 778588 h 4856353"/>
              <a:gd name="connsiteX2261" fmla="*/ 4393512 w 5860123"/>
              <a:gd name="connsiteY2261" fmla="*/ 776683 h 4856353"/>
              <a:gd name="connsiteX2262" fmla="*/ 4383987 w 5860123"/>
              <a:gd name="connsiteY2262" fmla="*/ 776683 h 4856353"/>
              <a:gd name="connsiteX2263" fmla="*/ 4376366 w 5860123"/>
              <a:gd name="connsiteY2263" fmla="*/ 776683 h 4856353"/>
              <a:gd name="connsiteX2264" fmla="*/ 4372556 w 5860123"/>
              <a:gd name="connsiteY2264" fmla="*/ 776683 h 4856353"/>
              <a:gd name="connsiteX2265" fmla="*/ 4355412 w 5860123"/>
              <a:gd name="connsiteY2265" fmla="*/ 778588 h 4856353"/>
              <a:gd name="connsiteX2266" fmla="*/ 4346839 w 5860123"/>
              <a:gd name="connsiteY2266" fmla="*/ 782398 h 4856353"/>
              <a:gd name="connsiteX2267" fmla="*/ 4339219 w 5860123"/>
              <a:gd name="connsiteY2267" fmla="*/ 787161 h 4856353"/>
              <a:gd name="connsiteX2268" fmla="*/ 4326837 w 5860123"/>
              <a:gd name="connsiteY2268" fmla="*/ 807163 h 4856353"/>
              <a:gd name="connsiteX2269" fmla="*/ 4321122 w 5860123"/>
              <a:gd name="connsiteY2269" fmla="*/ 816688 h 4856353"/>
              <a:gd name="connsiteX2270" fmla="*/ 4313502 w 5860123"/>
              <a:gd name="connsiteY2270" fmla="*/ 827166 h 4856353"/>
              <a:gd name="connsiteX2271" fmla="*/ 4304929 w 5860123"/>
              <a:gd name="connsiteY2271" fmla="*/ 829071 h 4856353"/>
              <a:gd name="connsiteX2272" fmla="*/ 4266829 w 5860123"/>
              <a:gd name="connsiteY2272" fmla="*/ 803353 h 4856353"/>
              <a:gd name="connsiteX2273" fmla="*/ 4240159 w 5860123"/>
              <a:gd name="connsiteY2273" fmla="*/ 804306 h 4856353"/>
              <a:gd name="connsiteX2274" fmla="*/ 4225872 w 5860123"/>
              <a:gd name="connsiteY2274" fmla="*/ 810973 h 4856353"/>
              <a:gd name="connsiteX2275" fmla="*/ 4212537 w 5860123"/>
              <a:gd name="connsiteY2275" fmla="*/ 809068 h 4856353"/>
              <a:gd name="connsiteX2276" fmla="*/ 4199202 w 5860123"/>
              <a:gd name="connsiteY2276" fmla="*/ 813831 h 4856353"/>
              <a:gd name="connsiteX2277" fmla="*/ 4187771 w 5860123"/>
              <a:gd name="connsiteY2277" fmla="*/ 828118 h 4856353"/>
              <a:gd name="connsiteX2278" fmla="*/ 4179199 w 5860123"/>
              <a:gd name="connsiteY2278" fmla="*/ 832881 h 4856353"/>
              <a:gd name="connsiteX2279" fmla="*/ 4153481 w 5860123"/>
              <a:gd name="connsiteY2279" fmla="*/ 813831 h 4856353"/>
              <a:gd name="connsiteX2280" fmla="*/ 4143004 w 5860123"/>
              <a:gd name="connsiteY2280" fmla="*/ 797638 h 4856353"/>
              <a:gd name="connsiteX2281" fmla="*/ 4142051 w 5860123"/>
              <a:gd name="connsiteY2281" fmla="*/ 791923 h 4856353"/>
              <a:gd name="connsiteX2282" fmla="*/ 4140146 w 5860123"/>
              <a:gd name="connsiteY2282" fmla="*/ 782398 h 4856353"/>
              <a:gd name="connsiteX2283" fmla="*/ 4144909 w 5860123"/>
              <a:gd name="connsiteY2283" fmla="*/ 772873 h 4856353"/>
              <a:gd name="connsiteX2284" fmla="*/ 4148719 w 5860123"/>
              <a:gd name="connsiteY2284" fmla="*/ 770016 h 4856353"/>
              <a:gd name="connsiteX2285" fmla="*/ 4161101 w 5860123"/>
              <a:gd name="connsiteY2285" fmla="*/ 762396 h 4856353"/>
              <a:gd name="connsiteX2286" fmla="*/ 4163006 w 5860123"/>
              <a:gd name="connsiteY2286" fmla="*/ 756681 h 4856353"/>
              <a:gd name="connsiteX2287" fmla="*/ 4163006 w 5860123"/>
              <a:gd name="connsiteY2287" fmla="*/ 718581 h 4856353"/>
              <a:gd name="connsiteX2288" fmla="*/ 4182056 w 5860123"/>
              <a:gd name="connsiteY2288" fmla="*/ 687148 h 4856353"/>
              <a:gd name="connsiteX2289" fmla="*/ 4180151 w 5860123"/>
              <a:gd name="connsiteY2289" fmla="*/ 680481 h 4856353"/>
              <a:gd name="connsiteX2290" fmla="*/ 4180151 w 5860123"/>
              <a:gd name="connsiteY2290" fmla="*/ 669051 h 4856353"/>
              <a:gd name="connsiteX2291" fmla="*/ 4229681 w 5860123"/>
              <a:gd name="connsiteY2291" fmla="*/ 545226 h 4856353"/>
              <a:gd name="connsiteX2292" fmla="*/ 4246827 w 5860123"/>
              <a:gd name="connsiteY2292" fmla="*/ 549988 h 4856353"/>
              <a:gd name="connsiteX2293" fmla="*/ 4272544 w 5860123"/>
              <a:gd name="connsiteY2293" fmla="*/ 564276 h 4856353"/>
              <a:gd name="connsiteX2294" fmla="*/ 4290641 w 5860123"/>
              <a:gd name="connsiteY2294" fmla="*/ 566181 h 4856353"/>
              <a:gd name="connsiteX2295" fmla="*/ 4313502 w 5860123"/>
              <a:gd name="connsiteY2295" fmla="*/ 571896 h 4856353"/>
              <a:gd name="connsiteX2296" fmla="*/ 4325884 w 5860123"/>
              <a:gd name="connsiteY2296" fmla="*/ 573801 h 4856353"/>
              <a:gd name="connsiteX2297" fmla="*/ 4339219 w 5860123"/>
              <a:gd name="connsiteY2297" fmla="*/ 565229 h 4856353"/>
              <a:gd name="connsiteX2298" fmla="*/ 4358269 w 5860123"/>
              <a:gd name="connsiteY2298" fmla="*/ 556657 h 4856353"/>
              <a:gd name="connsiteX2299" fmla="*/ 4373509 w 5860123"/>
              <a:gd name="connsiteY2299" fmla="*/ 540464 h 4856353"/>
              <a:gd name="connsiteX2300" fmla="*/ 4381129 w 5860123"/>
              <a:gd name="connsiteY2300" fmla="*/ 532844 h 4856353"/>
              <a:gd name="connsiteX2301" fmla="*/ 4391606 w 5860123"/>
              <a:gd name="connsiteY2301" fmla="*/ 520461 h 4856353"/>
              <a:gd name="connsiteX2302" fmla="*/ 4411609 w 5860123"/>
              <a:gd name="connsiteY2302" fmla="*/ 515698 h 4856353"/>
              <a:gd name="connsiteX2303" fmla="*/ 4433516 w 5860123"/>
              <a:gd name="connsiteY2303" fmla="*/ 506173 h 4856353"/>
              <a:gd name="connsiteX2304" fmla="*/ 4445899 w 5860123"/>
              <a:gd name="connsiteY2304" fmla="*/ 496649 h 4856353"/>
              <a:gd name="connsiteX2305" fmla="*/ 4452566 w 5860123"/>
              <a:gd name="connsiteY2305" fmla="*/ 488076 h 4856353"/>
              <a:gd name="connsiteX2306" fmla="*/ 4457329 w 5860123"/>
              <a:gd name="connsiteY2306" fmla="*/ 476647 h 4856353"/>
              <a:gd name="connsiteX2307" fmla="*/ 4456377 w 5860123"/>
              <a:gd name="connsiteY2307" fmla="*/ 467122 h 4856353"/>
              <a:gd name="connsiteX2308" fmla="*/ 4452566 w 5860123"/>
              <a:gd name="connsiteY2308" fmla="*/ 458548 h 4856353"/>
              <a:gd name="connsiteX2309" fmla="*/ 4438279 w 5860123"/>
              <a:gd name="connsiteY2309" fmla="*/ 457597 h 4856353"/>
              <a:gd name="connsiteX2310" fmla="*/ 4440184 w 5860123"/>
              <a:gd name="connsiteY2310" fmla="*/ 449024 h 4856353"/>
              <a:gd name="connsiteX2311" fmla="*/ 4445899 w 5860123"/>
              <a:gd name="connsiteY2311" fmla="*/ 432831 h 4856353"/>
              <a:gd name="connsiteX2312" fmla="*/ 4456377 w 5860123"/>
              <a:gd name="connsiteY2312" fmla="*/ 414734 h 4856353"/>
              <a:gd name="connsiteX2313" fmla="*/ 4463044 w 5860123"/>
              <a:gd name="connsiteY2313" fmla="*/ 385207 h 4856353"/>
              <a:gd name="connsiteX2314" fmla="*/ 4476379 w 5860123"/>
              <a:gd name="connsiteY2314" fmla="*/ 366156 h 4856353"/>
              <a:gd name="connsiteX2315" fmla="*/ 4482094 w 5860123"/>
              <a:gd name="connsiteY2315" fmla="*/ 346153 h 4856353"/>
              <a:gd name="connsiteX2316" fmla="*/ 4485904 w 5860123"/>
              <a:gd name="connsiteY2316" fmla="*/ 331866 h 4856353"/>
              <a:gd name="connsiteX2317" fmla="*/ 4492572 w 5860123"/>
              <a:gd name="connsiteY2317" fmla="*/ 320436 h 4856353"/>
              <a:gd name="connsiteX2318" fmla="*/ 4493524 w 5860123"/>
              <a:gd name="connsiteY2318" fmla="*/ 313768 h 4856353"/>
              <a:gd name="connsiteX2319" fmla="*/ 4496381 w 5860123"/>
              <a:gd name="connsiteY2319" fmla="*/ 306148 h 4856353"/>
              <a:gd name="connsiteX2320" fmla="*/ 4501144 w 5860123"/>
              <a:gd name="connsiteY2320" fmla="*/ 285193 h 4856353"/>
              <a:gd name="connsiteX2321" fmla="*/ 4504954 w 5860123"/>
              <a:gd name="connsiteY2321" fmla="*/ 272811 h 4856353"/>
              <a:gd name="connsiteX2322" fmla="*/ 4512574 w 5860123"/>
              <a:gd name="connsiteY2322" fmla="*/ 266143 h 4856353"/>
              <a:gd name="connsiteX2323" fmla="*/ 4523052 w 5860123"/>
              <a:gd name="connsiteY2323" fmla="*/ 253761 h 4856353"/>
              <a:gd name="connsiteX2324" fmla="*/ 4532577 w 5860123"/>
              <a:gd name="connsiteY2324" fmla="*/ 244236 h 4856353"/>
              <a:gd name="connsiteX2325" fmla="*/ 4544006 w 5860123"/>
              <a:gd name="connsiteY2325" fmla="*/ 237568 h 4856353"/>
              <a:gd name="connsiteX2326" fmla="*/ 4548769 w 5860123"/>
              <a:gd name="connsiteY2326" fmla="*/ 226138 h 4856353"/>
              <a:gd name="connsiteX2327" fmla="*/ 4547816 w 5860123"/>
              <a:gd name="connsiteY2327" fmla="*/ 218518 h 4856353"/>
              <a:gd name="connsiteX2328" fmla="*/ 4552579 w 5860123"/>
              <a:gd name="connsiteY2328" fmla="*/ 208993 h 4856353"/>
              <a:gd name="connsiteX2329" fmla="*/ 4544006 w 5860123"/>
              <a:gd name="connsiteY2329" fmla="*/ 192801 h 4856353"/>
              <a:gd name="connsiteX2330" fmla="*/ 4540197 w 5860123"/>
              <a:gd name="connsiteY2330" fmla="*/ 176608 h 4856353"/>
              <a:gd name="connsiteX2331" fmla="*/ 4541149 w 5860123"/>
              <a:gd name="connsiteY2331" fmla="*/ 164226 h 4856353"/>
              <a:gd name="connsiteX2332" fmla="*/ 4524956 w 5860123"/>
              <a:gd name="connsiteY2332" fmla="*/ 151843 h 4856353"/>
              <a:gd name="connsiteX2333" fmla="*/ 4502097 w 5860123"/>
              <a:gd name="connsiteY2333" fmla="*/ 160416 h 4856353"/>
              <a:gd name="connsiteX2334" fmla="*/ 4487809 w 5860123"/>
              <a:gd name="connsiteY2334" fmla="*/ 151843 h 4856353"/>
              <a:gd name="connsiteX2335" fmla="*/ 4488762 w 5860123"/>
              <a:gd name="connsiteY2335" fmla="*/ 146128 h 4856353"/>
              <a:gd name="connsiteX2336" fmla="*/ 4484952 w 5860123"/>
              <a:gd name="connsiteY2336" fmla="*/ 139461 h 4856353"/>
              <a:gd name="connsiteX2337" fmla="*/ 4493524 w 5860123"/>
              <a:gd name="connsiteY2337" fmla="*/ 130888 h 4856353"/>
              <a:gd name="connsiteX2338" fmla="*/ 4509716 w 5860123"/>
              <a:gd name="connsiteY2338" fmla="*/ 109933 h 4856353"/>
              <a:gd name="connsiteX2339" fmla="*/ 4519241 w 5860123"/>
              <a:gd name="connsiteY2339" fmla="*/ 96598 h 4856353"/>
              <a:gd name="connsiteX2340" fmla="*/ 4527814 w 5860123"/>
              <a:gd name="connsiteY2340" fmla="*/ 85168 h 4856353"/>
              <a:gd name="connsiteX2341" fmla="*/ 4531624 w 5860123"/>
              <a:gd name="connsiteY2341" fmla="*/ 77547 h 4856353"/>
              <a:gd name="connsiteX2342" fmla="*/ 4539244 w 5860123"/>
              <a:gd name="connsiteY2342" fmla="*/ 65165 h 4856353"/>
              <a:gd name="connsiteX2343" fmla="*/ 4553531 w 5860123"/>
              <a:gd name="connsiteY2343" fmla="*/ 62307 h 4856353"/>
              <a:gd name="connsiteX2344" fmla="*/ 4562104 w 5860123"/>
              <a:gd name="connsiteY2344" fmla="*/ 61355 h 4856353"/>
              <a:gd name="connsiteX2345" fmla="*/ 4585916 w 5860123"/>
              <a:gd name="connsiteY2345" fmla="*/ 54687 h 4856353"/>
              <a:gd name="connsiteX2346" fmla="*/ 4598299 w 5860123"/>
              <a:gd name="connsiteY2346" fmla="*/ 48972 h 4856353"/>
              <a:gd name="connsiteX2347" fmla="*/ 4617349 w 5860123"/>
              <a:gd name="connsiteY2347" fmla="*/ 38496 h 4856353"/>
              <a:gd name="connsiteX2348" fmla="*/ 4632589 w 5860123"/>
              <a:gd name="connsiteY2348" fmla="*/ 35637 h 4856353"/>
              <a:gd name="connsiteX2349" fmla="*/ 4646877 w 5860123"/>
              <a:gd name="connsiteY2349" fmla="*/ 28017 h 4856353"/>
              <a:gd name="connsiteX2350" fmla="*/ 4662116 w 5860123"/>
              <a:gd name="connsiteY2350" fmla="*/ 25160 h 4856353"/>
              <a:gd name="connsiteX2351" fmla="*/ 4678309 w 5860123"/>
              <a:gd name="connsiteY2351" fmla="*/ 24207 h 4856353"/>
              <a:gd name="connsiteX2352" fmla="*/ 4694502 w 5860123"/>
              <a:gd name="connsiteY2352" fmla="*/ 22302 h 4856353"/>
              <a:gd name="connsiteX2353" fmla="*/ 4709741 w 5860123"/>
              <a:gd name="connsiteY2353" fmla="*/ 16587 h 4856353"/>
              <a:gd name="connsiteX2354" fmla="*/ 4721172 w 5860123"/>
              <a:gd name="connsiteY2354" fmla="*/ 11825 h 4856353"/>
              <a:gd name="connsiteX2355" fmla="*/ 4730697 w 5860123"/>
              <a:gd name="connsiteY2355" fmla="*/ 6110 h 4856353"/>
              <a:gd name="connsiteX2356" fmla="*/ 4743079 w 5860123"/>
              <a:gd name="connsiteY2356" fmla="*/ 3252 h 4856353"/>
              <a:gd name="connsiteX2357" fmla="*/ 4753556 w 5860123"/>
              <a:gd name="connsiteY2357" fmla="*/ 3252 h 4856353"/>
              <a:gd name="connsiteX2358" fmla="*/ 4756533 w 5860123"/>
              <a:gd name="connsiteY2358" fmla="*/ 276 h 4856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</a:cxnLst>
            <a:rect l="l" t="t" r="r" b="b"/>
            <a:pathLst>
              <a:path w="5860123" h="4856353">
                <a:moveTo>
                  <a:pt x="3762004" y="4605373"/>
                </a:moveTo>
                <a:cubicBezTo>
                  <a:pt x="3765814" y="4605730"/>
                  <a:pt x="3770100" y="4608111"/>
                  <a:pt x="3773434" y="4611445"/>
                </a:cubicBezTo>
                <a:cubicBezTo>
                  <a:pt x="3780102" y="4618112"/>
                  <a:pt x="3783912" y="4620017"/>
                  <a:pt x="3793437" y="4620970"/>
                </a:cubicBezTo>
                <a:cubicBezTo>
                  <a:pt x="3802962" y="4622875"/>
                  <a:pt x="3803914" y="4631447"/>
                  <a:pt x="3805819" y="4644782"/>
                </a:cubicBezTo>
                <a:cubicBezTo>
                  <a:pt x="3807724" y="4658117"/>
                  <a:pt x="3806771" y="4667642"/>
                  <a:pt x="3794389" y="4677167"/>
                </a:cubicBezTo>
                <a:cubicBezTo>
                  <a:pt x="3781054" y="4686692"/>
                  <a:pt x="3780102" y="4686692"/>
                  <a:pt x="3768671" y="4701932"/>
                </a:cubicBezTo>
                <a:cubicBezTo>
                  <a:pt x="3757241" y="4718125"/>
                  <a:pt x="3748669" y="4742890"/>
                  <a:pt x="3744859" y="4763845"/>
                </a:cubicBezTo>
                <a:cubicBezTo>
                  <a:pt x="3741049" y="4784800"/>
                  <a:pt x="3737239" y="4791467"/>
                  <a:pt x="3720094" y="4795277"/>
                </a:cubicBezTo>
                <a:cubicBezTo>
                  <a:pt x="3701996" y="4799087"/>
                  <a:pt x="3696281" y="4809565"/>
                  <a:pt x="3691519" y="4820995"/>
                </a:cubicBezTo>
                <a:cubicBezTo>
                  <a:pt x="3685804" y="4833377"/>
                  <a:pt x="3679137" y="4830520"/>
                  <a:pt x="3663896" y="4830520"/>
                </a:cubicBezTo>
                <a:cubicBezTo>
                  <a:pt x="3648656" y="4830520"/>
                  <a:pt x="3642941" y="4839092"/>
                  <a:pt x="3636274" y="4847665"/>
                </a:cubicBezTo>
                <a:cubicBezTo>
                  <a:pt x="3629606" y="4856237"/>
                  <a:pt x="3620081" y="4859095"/>
                  <a:pt x="3611509" y="4853380"/>
                </a:cubicBezTo>
                <a:cubicBezTo>
                  <a:pt x="3602937" y="4848617"/>
                  <a:pt x="3595316" y="4844807"/>
                  <a:pt x="3578171" y="4843855"/>
                </a:cubicBezTo>
                <a:cubicBezTo>
                  <a:pt x="3561027" y="4842902"/>
                  <a:pt x="3547691" y="4834330"/>
                  <a:pt x="3525784" y="4823852"/>
                </a:cubicBezTo>
                <a:cubicBezTo>
                  <a:pt x="3503877" y="4813375"/>
                  <a:pt x="3501019" y="4809565"/>
                  <a:pt x="3503877" y="4797182"/>
                </a:cubicBezTo>
                <a:cubicBezTo>
                  <a:pt x="3506734" y="4783847"/>
                  <a:pt x="3502924" y="4779085"/>
                  <a:pt x="3500066" y="4772417"/>
                </a:cubicBezTo>
                <a:cubicBezTo>
                  <a:pt x="3497209" y="4765750"/>
                  <a:pt x="3498162" y="4738127"/>
                  <a:pt x="3498162" y="4724792"/>
                </a:cubicBezTo>
                <a:cubicBezTo>
                  <a:pt x="3498162" y="4711457"/>
                  <a:pt x="3503877" y="4706695"/>
                  <a:pt x="3517212" y="4695265"/>
                </a:cubicBezTo>
                <a:cubicBezTo>
                  <a:pt x="3530546" y="4683835"/>
                  <a:pt x="3533404" y="4687645"/>
                  <a:pt x="3542929" y="4678120"/>
                </a:cubicBezTo>
                <a:cubicBezTo>
                  <a:pt x="3552454" y="4668595"/>
                  <a:pt x="3557216" y="4669547"/>
                  <a:pt x="3563884" y="4665737"/>
                </a:cubicBezTo>
                <a:cubicBezTo>
                  <a:pt x="3570552" y="4661927"/>
                  <a:pt x="3568646" y="4660022"/>
                  <a:pt x="3568646" y="4652402"/>
                </a:cubicBezTo>
                <a:cubicBezTo>
                  <a:pt x="3566741" y="4643830"/>
                  <a:pt x="3568646" y="4644782"/>
                  <a:pt x="3574362" y="4640020"/>
                </a:cubicBezTo>
                <a:cubicBezTo>
                  <a:pt x="3581029" y="4635257"/>
                  <a:pt x="3587696" y="4632400"/>
                  <a:pt x="3601031" y="4637162"/>
                </a:cubicBezTo>
                <a:cubicBezTo>
                  <a:pt x="3614366" y="4641925"/>
                  <a:pt x="3613414" y="4638115"/>
                  <a:pt x="3616271" y="4627637"/>
                </a:cubicBezTo>
                <a:cubicBezTo>
                  <a:pt x="3619129" y="4617160"/>
                  <a:pt x="3633416" y="4619065"/>
                  <a:pt x="3653419" y="4624780"/>
                </a:cubicBezTo>
                <a:cubicBezTo>
                  <a:pt x="3673421" y="4630495"/>
                  <a:pt x="3681994" y="4627637"/>
                  <a:pt x="3695329" y="4617160"/>
                </a:cubicBezTo>
                <a:cubicBezTo>
                  <a:pt x="3708664" y="4606682"/>
                  <a:pt x="3725809" y="4608587"/>
                  <a:pt x="3738191" y="4614302"/>
                </a:cubicBezTo>
                <a:cubicBezTo>
                  <a:pt x="3750574" y="4620017"/>
                  <a:pt x="3750574" y="4620017"/>
                  <a:pt x="3753431" y="4611445"/>
                </a:cubicBezTo>
                <a:cubicBezTo>
                  <a:pt x="3754860" y="4606683"/>
                  <a:pt x="3758194" y="4605016"/>
                  <a:pt x="3762004" y="4605373"/>
                </a:cubicBezTo>
                <a:close/>
                <a:moveTo>
                  <a:pt x="4529719" y="4482858"/>
                </a:moveTo>
                <a:cubicBezTo>
                  <a:pt x="4538291" y="4485715"/>
                  <a:pt x="4531624" y="4500002"/>
                  <a:pt x="4523051" y="4493335"/>
                </a:cubicBezTo>
                <a:cubicBezTo>
                  <a:pt x="4514479" y="4486667"/>
                  <a:pt x="4521146" y="4480000"/>
                  <a:pt x="4529719" y="4482858"/>
                </a:cubicBezTo>
                <a:close/>
                <a:moveTo>
                  <a:pt x="3720809" y="4475953"/>
                </a:moveTo>
                <a:cubicBezTo>
                  <a:pt x="3724381" y="4475239"/>
                  <a:pt x="3728667" y="4475715"/>
                  <a:pt x="3733429" y="4477143"/>
                </a:cubicBezTo>
                <a:cubicBezTo>
                  <a:pt x="3742954" y="4480000"/>
                  <a:pt x="3742954" y="4483811"/>
                  <a:pt x="3741049" y="4489525"/>
                </a:cubicBezTo>
                <a:cubicBezTo>
                  <a:pt x="3739144" y="4495240"/>
                  <a:pt x="3731524" y="4492383"/>
                  <a:pt x="3728666" y="4487620"/>
                </a:cubicBezTo>
                <a:cubicBezTo>
                  <a:pt x="3724856" y="4482858"/>
                  <a:pt x="3716284" y="4488573"/>
                  <a:pt x="3711521" y="4489525"/>
                </a:cubicBezTo>
                <a:cubicBezTo>
                  <a:pt x="3706759" y="4490478"/>
                  <a:pt x="3708664" y="4487620"/>
                  <a:pt x="3712474" y="4481905"/>
                </a:cubicBezTo>
                <a:cubicBezTo>
                  <a:pt x="3714379" y="4478572"/>
                  <a:pt x="3717237" y="4476667"/>
                  <a:pt x="3720809" y="4475953"/>
                </a:cubicBezTo>
                <a:close/>
                <a:moveTo>
                  <a:pt x="3552453" y="4475237"/>
                </a:moveTo>
                <a:cubicBezTo>
                  <a:pt x="3557216" y="4475237"/>
                  <a:pt x="3558168" y="4478095"/>
                  <a:pt x="3554358" y="4481905"/>
                </a:cubicBezTo>
                <a:cubicBezTo>
                  <a:pt x="3549596" y="4485715"/>
                  <a:pt x="3551501" y="4484762"/>
                  <a:pt x="3549596" y="4484762"/>
                </a:cubicBezTo>
                <a:cubicBezTo>
                  <a:pt x="3547691" y="4484762"/>
                  <a:pt x="3545786" y="4482857"/>
                  <a:pt x="3546739" y="4479047"/>
                </a:cubicBezTo>
                <a:cubicBezTo>
                  <a:pt x="3547691" y="4476190"/>
                  <a:pt x="3548643" y="4475237"/>
                  <a:pt x="3552453" y="4475237"/>
                </a:cubicBezTo>
                <a:close/>
                <a:moveTo>
                  <a:pt x="4419229" y="4458092"/>
                </a:moveTo>
                <a:cubicBezTo>
                  <a:pt x="4427801" y="4461902"/>
                  <a:pt x="4421134" y="4475237"/>
                  <a:pt x="4412561" y="4468570"/>
                </a:cubicBezTo>
                <a:cubicBezTo>
                  <a:pt x="4403989" y="4461902"/>
                  <a:pt x="4410656" y="4455235"/>
                  <a:pt x="4419229" y="4458092"/>
                </a:cubicBezTo>
                <a:close/>
                <a:moveTo>
                  <a:pt x="4428754" y="4436186"/>
                </a:moveTo>
                <a:cubicBezTo>
                  <a:pt x="4436374" y="4439043"/>
                  <a:pt x="4430659" y="4453330"/>
                  <a:pt x="4422086" y="4446663"/>
                </a:cubicBezTo>
                <a:cubicBezTo>
                  <a:pt x="4413514" y="4439995"/>
                  <a:pt x="4420181" y="4433328"/>
                  <a:pt x="4428754" y="4436186"/>
                </a:cubicBezTo>
                <a:close/>
                <a:moveTo>
                  <a:pt x="4005844" y="4385702"/>
                </a:moveTo>
                <a:cubicBezTo>
                  <a:pt x="4009654" y="4385702"/>
                  <a:pt x="4006796" y="4390465"/>
                  <a:pt x="4002986" y="4397132"/>
                </a:cubicBezTo>
                <a:cubicBezTo>
                  <a:pt x="3999176" y="4404752"/>
                  <a:pt x="3992509" y="4403800"/>
                  <a:pt x="3988699" y="4402847"/>
                </a:cubicBezTo>
                <a:cubicBezTo>
                  <a:pt x="3984889" y="4401895"/>
                  <a:pt x="3995366" y="4395227"/>
                  <a:pt x="3996319" y="4391417"/>
                </a:cubicBezTo>
                <a:cubicBezTo>
                  <a:pt x="3996319" y="4387607"/>
                  <a:pt x="4002034" y="4385702"/>
                  <a:pt x="4005844" y="4385702"/>
                </a:cubicBezTo>
                <a:close/>
                <a:moveTo>
                  <a:pt x="4029656" y="4376177"/>
                </a:moveTo>
                <a:cubicBezTo>
                  <a:pt x="4032514" y="4374272"/>
                  <a:pt x="4037277" y="4380940"/>
                  <a:pt x="4031562" y="4386655"/>
                </a:cubicBezTo>
                <a:cubicBezTo>
                  <a:pt x="4025846" y="4392370"/>
                  <a:pt x="4026799" y="4395227"/>
                  <a:pt x="4024894" y="4401895"/>
                </a:cubicBezTo>
                <a:cubicBezTo>
                  <a:pt x="4022989" y="4408562"/>
                  <a:pt x="4020131" y="4405705"/>
                  <a:pt x="4017274" y="4394274"/>
                </a:cubicBezTo>
                <a:cubicBezTo>
                  <a:pt x="4015369" y="4381892"/>
                  <a:pt x="4026799" y="4378082"/>
                  <a:pt x="4029656" y="4376177"/>
                </a:cubicBezTo>
                <a:close/>
                <a:moveTo>
                  <a:pt x="4175626" y="4298072"/>
                </a:moveTo>
                <a:cubicBezTo>
                  <a:pt x="4177294" y="4299263"/>
                  <a:pt x="4177770" y="4301882"/>
                  <a:pt x="4177293" y="4304740"/>
                </a:cubicBezTo>
                <a:cubicBezTo>
                  <a:pt x="4176340" y="4309502"/>
                  <a:pt x="4172530" y="4311407"/>
                  <a:pt x="4165863" y="4312360"/>
                </a:cubicBezTo>
                <a:cubicBezTo>
                  <a:pt x="4159196" y="4313312"/>
                  <a:pt x="4157290" y="4312360"/>
                  <a:pt x="4156338" y="4307597"/>
                </a:cubicBezTo>
                <a:cubicBezTo>
                  <a:pt x="4155386" y="4302835"/>
                  <a:pt x="4158243" y="4305692"/>
                  <a:pt x="4166815" y="4299977"/>
                </a:cubicBezTo>
                <a:cubicBezTo>
                  <a:pt x="4171102" y="4297120"/>
                  <a:pt x="4173960" y="4296882"/>
                  <a:pt x="4175626" y="4298072"/>
                </a:cubicBezTo>
                <a:close/>
                <a:moveTo>
                  <a:pt x="5120269" y="4247590"/>
                </a:moveTo>
                <a:cubicBezTo>
                  <a:pt x="5125983" y="4249495"/>
                  <a:pt x="5130746" y="4265687"/>
                  <a:pt x="5120269" y="4259973"/>
                </a:cubicBezTo>
                <a:cubicBezTo>
                  <a:pt x="5109791" y="4254257"/>
                  <a:pt x="5114553" y="4245685"/>
                  <a:pt x="5120269" y="4247590"/>
                </a:cubicBezTo>
                <a:close/>
                <a:moveTo>
                  <a:pt x="5101219" y="4170437"/>
                </a:moveTo>
                <a:cubicBezTo>
                  <a:pt x="5102171" y="4172342"/>
                  <a:pt x="5103124" y="4170437"/>
                  <a:pt x="5103124" y="4170437"/>
                </a:cubicBezTo>
                <a:lnTo>
                  <a:pt x="5105029" y="4171390"/>
                </a:lnTo>
                <a:cubicBezTo>
                  <a:pt x="5105029" y="4171390"/>
                  <a:pt x="5105981" y="4173295"/>
                  <a:pt x="5104076" y="4175200"/>
                </a:cubicBezTo>
                <a:cubicBezTo>
                  <a:pt x="5102171" y="4177105"/>
                  <a:pt x="5100266" y="4176152"/>
                  <a:pt x="5100266" y="4174247"/>
                </a:cubicBezTo>
                <a:cubicBezTo>
                  <a:pt x="5100266" y="4172342"/>
                  <a:pt x="5100266" y="4173295"/>
                  <a:pt x="5099314" y="4171390"/>
                </a:cubicBezTo>
                <a:cubicBezTo>
                  <a:pt x="5098361" y="4170437"/>
                  <a:pt x="5100266" y="4168532"/>
                  <a:pt x="5101219" y="4170437"/>
                </a:cubicBezTo>
                <a:close/>
                <a:moveTo>
                  <a:pt x="4548768" y="4116145"/>
                </a:moveTo>
                <a:cubicBezTo>
                  <a:pt x="4555436" y="4114240"/>
                  <a:pt x="4557340" y="4118050"/>
                  <a:pt x="4555436" y="4122812"/>
                </a:cubicBezTo>
                <a:cubicBezTo>
                  <a:pt x="4553530" y="4127575"/>
                  <a:pt x="4549721" y="4127575"/>
                  <a:pt x="4540196" y="4128528"/>
                </a:cubicBezTo>
                <a:cubicBezTo>
                  <a:pt x="4530671" y="4129480"/>
                  <a:pt x="4530671" y="4123765"/>
                  <a:pt x="4537338" y="4119955"/>
                </a:cubicBezTo>
                <a:cubicBezTo>
                  <a:pt x="4544005" y="4116145"/>
                  <a:pt x="4542101" y="4118050"/>
                  <a:pt x="4548768" y="4116145"/>
                </a:cubicBezTo>
                <a:close/>
                <a:moveTo>
                  <a:pt x="4845949" y="4108525"/>
                </a:moveTo>
                <a:cubicBezTo>
                  <a:pt x="4846901" y="4110430"/>
                  <a:pt x="4847854" y="4108525"/>
                  <a:pt x="4847854" y="4108525"/>
                </a:cubicBezTo>
                <a:lnTo>
                  <a:pt x="4849759" y="4109478"/>
                </a:lnTo>
                <a:cubicBezTo>
                  <a:pt x="4849759" y="4109478"/>
                  <a:pt x="4850711" y="4111383"/>
                  <a:pt x="4848806" y="4113288"/>
                </a:cubicBezTo>
                <a:cubicBezTo>
                  <a:pt x="4846901" y="4115193"/>
                  <a:pt x="4844996" y="4114240"/>
                  <a:pt x="4844996" y="4112335"/>
                </a:cubicBezTo>
                <a:cubicBezTo>
                  <a:pt x="4844996" y="4110430"/>
                  <a:pt x="4844996" y="4111383"/>
                  <a:pt x="4844044" y="4109478"/>
                </a:cubicBezTo>
                <a:cubicBezTo>
                  <a:pt x="4843091" y="4108525"/>
                  <a:pt x="4844996" y="4106620"/>
                  <a:pt x="4845949" y="4108525"/>
                </a:cubicBezTo>
                <a:close/>
                <a:moveTo>
                  <a:pt x="4590679" y="4078403"/>
                </a:moveTo>
                <a:cubicBezTo>
                  <a:pt x="4593537" y="4077093"/>
                  <a:pt x="4595918" y="4077093"/>
                  <a:pt x="4596394" y="4078998"/>
                </a:cubicBezTo>
                <a:cubicBezTo>
                  <a:pt x="4597346" y="4083760"/>
                  <a:pt x="4596394" y="4086618"/>
                  <a:pt x="4591631" y="4093285"/>
                </a:cubicBezTo>
                <a:cubicBezTo>
                  <a:pt x="4586869" y="4099953"/>
                  <a:pt x="4583059" y="4100905"/>
                  <a:pt x="4580201" y="4099953"/>
                </a:cubicBezTo>
                <a:cubicBezTo>
                  <a:pt x="4577344" y="4098048"/>
                  <a:pt x="4576391" y="4092333"/>
                  <a:pt x="4582106" y="4085665"/>
                </a:cubicBezTo>
                <a:cubicBezTo>
                  <a:pt x="4584488" y="4082332"/>
                  <a:pt x="4587822" y="4079712"/>
                  <a:pt x="4590679" y="4078403"/>
                </a:cubicBezTo>
                <a:close/>
                <a:moveTo>
                  <a:pt x="4856188" y="4070902"/>
                </a:moveTo>
                <a:cubicBezTo>
                  <a:pt x="4857855" y="4072092"/>
                  <a:pt x="4859760" y="4074235"/>
                  <a:pt x="4861188" y="4076140"/>
                </a:cubicBezTo>
                <a:cubicBezTo>
                  <a:pt x="4863093" y="4079950"/>
                  <a:pt x="4866903" y="4079950"/>
                  <a:pt x="4864046" y="4084713"/>
                </a:cubicBezTo>
                <a:cubicBezTo>
                  <a:pt x="4861188" y="4090428"/>
                  <a:pt x="4856426" y="4091380"/>
                  <a:pt x="4851663" y="4088523"/>
                </a:cubicBezTo>
                <a:cubicBezTo>
                  <a:pt x="4846901" y="4085665"/>
                  <a:pt x="4852616" y="4078045"/>
                  <a:pt x="4852616" y="4078045"/>
                </a:cubicBezTo>
                <a:cubicBezTo>
                  <a:pt x="4852616" y="4078045"/>
                  <a:pt x="4850711" y="4075188"/>
                  <a:pt x="4852616" y="4071378"/>
                </a:cubicBezTo>
                <a:cubicBezTo>
                  <a:pt x="4853092" y="4069473"/>
                  <a:pt x="4854521" y="4069711"/>
                  <a:pt x="4856188" y="4070902"/>
                </a:cubicBezTo>
                <a:close/>
                <a:moveTo>
                  <a:pt x="4700216" y="3966603"/>
                </a:moveTo>
                <a:cubicBezTo>
                  <a:pt x="4703074" y="3964698"/>
                  <a:pt x="4706883" y="3965650"/>
                  <a:pt x="4708789" y="3969460"/>
                </a:cubicBezTo>
                <a:cubicBezTo>
                  <a:pt x="4709741" y="3973270"/>
                  <a:pt x="4709741" y="3972318"/>
                  <a:pt x="4706883" y="3978985"/>
                </a:cubicBezTo>
                <a:cubicBezTo>
                  <a:pt x="4704026" y="3984700"/>
                  <a:pt x="4696406" y="3984700"/>
                  <a:pt x="4690691" y="3985653"/>
                </a:cubicBezTo>
                <a:cubicBezTo>
                  <a:pt x="4685928" y="3986605"/>
                  <a:pt x="4684976" y="3976128"/>
                  <a:pt x="4692596" y="3973270"/>
                </a:cubicBezTo>
                <a:cubicBezTo>
                  <a:pt x="4700216" y="3970412"/>
                  <a:pt x="4696406" y="3969460"/>
                  <a:pt x="4700216" y="3966603"/>
                </a:cubicBezTo>
                <a:close/>
                <a:moveTo>
                  <a:pt x="5072525" y="3821704"/>
                </a:moveTo>
                <a:cubicBezTo>
                  <a:pt x="5077644" y="3823252"/>
                  <a:pt x="5083121" y="3827538"/>
                  <a:pt x="5086931" y="3832300"/>
                </a:cubicBezTo>
                <a:cubicBezTo>
                  <a:pt x="5095503" y="3841825"/>
                  <a:pt x="5100266" y="3838015"/>
                  <a:pt x="5111696" y="3839920"/>
                </a:cubicBezTo>
                <a:cubicBezTo>
                  <a:pt x="5122173" y="3841825"/>
                  <a:pt x="5124078" y="3856112"/>
                  <a:pt x="5114553" y="3870400"/>
                </a:cubicBezTo>
                <a:cubicBezTo>
                  <a:pt x="5105028" y="3884687"/>
                  <a:pt x="5108838" y="3881830"/>
                  <a:pt x="5115506" y="3905643"/>
                </a:cubicBezTo>
                <a:cubicBezTo>
                  <a:pt x="5121221" y="3929455"/>
                  <a:pt x="5115506" y="3942790"/>
                  <a:pt x="5106933" y="3958983"/>
                </a:cubicBezTo>
                <a:cubicBezTo>
                  <a:pt x="5099313" y="3975175"/>
                  <a:pt x="5099313" y="3984700"/>
                  <a:pt x="5100266" y="3998987"/>
                </a:cubicBezTo>
                <a:cubicBezTo>
                  <a:pt x="5101219" y="4013275"/>
                  <a:pt x="5097408" y="4019943"/>
                  <a:pt x="5094551" y="4049470"/>
                </a:cubicBezTo>
                <a:cubicBezTo>
                  <a:pt x="5091694" y="4078998"/>
                  <a:pt x="5086931" y="4099953"/>
                  <a:pt x="5081216" y="4120908"/>
                </a:cubicBezTo>
                <a:cubicBezTo>
                  <a:pt x="5075501" y="4142815"/>
                  <a:pt x="5062166" y="4166628"/>
                  <a:pt x="5053594" y="4175200"/>
                </a:cubicBezTo>
                <a:cubicBezTo>
                  <a:pt x="5045021" y="4183773"/>
                  <a:pt x="5045973" y="4186630"/>
                  <a:pt x="5037401" y="4212348"/>
                </a:cubicBezTo>
                <a:cubicBezTo>
                  <a:pt x="5028828" y="4238065"/>
                  <a:pt x="5038353" y="4253305"/>
                  <a:pt x="5038353" y="4267593"/>
                </a:cubicBezTo>
                <a:cubicBezTo>
                  <a:pt x="5038353" y="4281880"/>
                  <a:pt x="5036448" y="4289500"/>
                  <a:pt x="5032638" y="4285690"/>
                </a:cubicBezTo>
                <a:cubicBezTo>
                  <a:pt x="5027876" y="4281880"/>
                  <a:pt x="5025971" y="4279975"/>
                  <a:pt x="5020256" y="4279023"/>
                </a:cubicBezTo>
                <a:cubicBezTo>
                  <a:pt x="5014541" y="4278070"/>
                  <a:pt x="5014541" y="4271403"/>
                  <a:pt x="5009778" y="4253305"/>
                </a:cubicBezTo>
                <a:cubicBezTo>
                  <a:pt x="5005016" y="4234255"/>
                  <a:pt x="4997396" y="4231398"/>
                  <a:pt x="4979298" y="4219968"/>
                </a:cubicBezTo>
                <a:cubicBezTo>
                  <a:pt x="4960248" y="4208538"/>
                  <a:pt x="4955486" y="4205680"/>
                  <a:pt x="4946913" y="4187583"/>
                </a:cubicBezTo>
                <a:cubicBezTo>
                  <a:pt x="4938341" y="4169485"/>
                  <a:pt x="4936436" y="4165675"/>
                  <a:pt x="4925958" y="4151388"/>
                </a:cubicBezTo>
                <a:cubicBezTo>
                  <a:pt x="4915481" y="4137100"/>
                  <a:pt x="4915481" y="4139958"/>
                  <a:pt x="4920244" y="4121860"/>
                </a:cubicBezTo>
                <a:cubicBezTo>
                  <a:pt x="4925006" y="4103763"/>
                  <a:pt x="4923101" y="4101858"/>
                  <a:pt x="4923101" y="4075187"/>
                </a:cubicBezTo>
                <a:cubicBezTo>
                  <a:pt x="4923101" y="4048518"/>
                  <a:pt x="4935483" y="4035183"/>
                  <a:pt x="4950723" y="3999940"/>
                </a:cubicBezTo>
                <a:cubicBezTo>
                  <a:pt x="4966916" y="3964698"/>
                  <a:pt x="4974536" y="3942790"/>
                  <a:pt x="4988823" y="3919930"/>
                </a:cubicBezTo>
                <a:cubicBezTo>
                  <a:pt x="5003111" y="3897070"/>
                  <a:pt x="4998348" y="3898975"/>
                  <a:pt x="5005016" y="3878020"/>
                </a:cubicBezTo>
                <a:cubicBezTo>
                  <a:pt x="5011683" y="3857065"/>
                  <a:pt x="5035496" y="3853255"/>
                  <a:pt x="5045021" y="3849445"/>
                </a:cubicBezTo>
                <a:cubicBezTo>
                  <a:pt x="5054546" y="3845635"/>
                  <a:pt x="5055498" y="3840873"/>
                  <a:pt x="5060261" y="3827537"/>
                </a:cubicBezTo>
                <a:cubicBezTo>
                  <a:pt x="5062642" y="3821346"/>
                  <a:pt x="5067405" y="3820156"/>
                  <a:pt x="5072525" y="3821704"/>
                </a:cubicBezTo>
                <a:close/>
                <a:moveTo>
                  <a:pt x="4847853" y="3802773"/>
                </a:moveTo>
                <a:cubicBezTo>
                  <a:pt x="4850711" y="3800868"/>
                  <a:pt x="4854521" y="3803725"/>
                  <a:pt x="4854521" y="3803725"/>
                </a:cubicBezTo>
                <a:cubicBezTo>
                  <a:pt x="4854521" y="3803725"/>
                  <a:pt x="4869761" y="3808488"/>
                  <a:pt x="4864999" y="3816108"/>
                </a:cubicBezTo>
                <a:cubicBezTo>
                  <a:pt x="4860236" y="3823728"/>
                  <a:pt x="4858331" y="3823728"/>
                  <a:pt x="4856426" y="3829443"/>
                </a:cubicBezTo>
                <a:cubicBezTo>
                  <a:pt x="4854521" y="3835158"/>
                  <a:pt x="4851664" y="3836111"/>
                  <a:pt x="4848806" y="3834205"/>
                </a:cubicBezTo>
                <a:cubicBezTo>
                  <a:pt x="4844996" y="3831348"/>
                  <a:pt x="4844996" y="3827538"/>
                  <a:pt x="4844996" y="3817061"/>
                </a:cubicBezTo>
                <a:cubicBezTo>
                  <a:pt x="4845949" y="3806583"/>
                  <a:pt x="4844044" y="3805630"/>
                  <a:pt x="4847853" y="3802773"/>
                </a:cubicBezTo>
                <a:close/>
                <a:moveTo>
                  <a:pt x="5131698" y="3788485"/>
                </a:moveTo>
                <a:cubicBezTo>
                  <a:pt x="5131698" y="3788485"/>
                  <a:pt x="5135509" y="3788485"/>
                  <a:pt x="5136461" y="3792295"/>
                </a:cubicBezTo>
                <a:cubicBezTo>
                  <a:pt x="5136461" y="3796105"/>
                  <a:pt x="5132651" y="3796105"/>
                  <a:pt x="5128841" y="3793248"/>
                </a:cubicBezTo>
                <a:cubicBezTo>
                  <a:pt x="5125031" y="3791342"/>
                  <a:pt x="5131698" y="3788485"/>
                  <a:pt x="5131698" y="3788485"/>
                </a:cubicBezTo>
                <a:close/>
                <a:moveTo>
                  <a:pt x="5298386" y="3730383"/>
                </a:moveTo>
                <a:cubicBezTo>
                  <a:pt x="5298386" y="3730383"/>
                  <a:pt x="5302196" y="3729430"/>
                  <a:pt x="5304101" y="3733240"/>
                </a:cubicBezTo>
                <a:cubicBezTo>
                  <a:pt x="5305054" y="3737050"/>
                  <a:pt x="5300291" y="3739908"/>
                  <a:pt x="5295529" y="3737050"/>
                </a:cubicBezTo>
                <a:cubicBezTo>
                  <a:pt x="5289814" y="3734193"/>
                  <a:pt x="5298386" y="3730383"/>
                  <a:pt x="5298386" y="3730383"/>
                </a:cubicBezTo>
                <a:close/>
                <a:moveTo>
                  <a:pt x="5306006" y="3713237"/>
                </a:moveTo>
                <a:cubicBezTo>
                  <a:pt x="5306006" y="3713237"/>
                  <a:pt x="5309816" y="3712285"/>
                  <a:pt x="5311721" y="3716095"/>
                </a:cubicBezTo>
                <a:cubicBezTo>
                  <a:pt x="5312673" y="3719905"/>
                  <a:pt x="5307911" y="3722762"/>
                  <a:pt x="5303148" y="3719905"/>
                </a:cubicBezTo>
                <a:cubicBezTo>
                  <a:pt x="5297434" y="3717047"/>
                  <a:pt x="5306006" y="3713237"/>
                  <a:pt x="5306006" y="3713237"/>
                </a:cubicBezTo>
                <a:close/>
                <a:moveTo>
                  <a:pt x="5422211" y="3692283"/>
                </a:moveTo>
                <a:cubicBezTo>
                  <a:pt x="5422211" y="3692283"/>
                  <a:pt x="5426021" y="3691330"/>
                  <a:pt x="5427926" y="3695140"/>
                </a:cubicBezTo>
                <a:cubicBezTo>
                  <a:pt x="5428879" y="3698950"/>
                  <a:pt x="5424116" y="3701808"/>
                  <a:pt x="5419354" y="3698950"/>
                </a:cubicBezTo>
                <a:cubicBezTo>
                  <a:pt x="5413639" y="3696093"/>
                  <a:pt x="5422211" y="3692283"/>
                  <a:pt x="5422211" y="3692283"/>
                </a:cubicBezTo>
                <a:close/>
                <a:moveTo>
                  <a:pt x="5061214" y="3214127"/>
                </a:moveTo>
                <a:cubicBezTo>
                  <a:pt x="5065976" y="3214127"/>
                  <a:pt x="5072644" y="3218890"/>
                  <a:pt x="5069786" y="3225557"/>
                </a:cubicBezTo>
                <a:cubicBezTo>
                  <a:pt x="5067881" y="3232225"/>
                  <a:pt x="5064071" y="3228415"/>
                  <a:pt x="5058356" y="3221747"/>
                </a:cubicBezTo>
                <a:cubicBezTo>
                  <a:pt x="5052641" y="3215080"/>
                  <a:pt x="5056451" y="3214127"/>
                  <a:pt x="5061214" y="3214127"/>
                </a:cubicBezTo>
                <a:close/>
                <a:moveTo>
                  <a:pt x="5047878" y="3163646"/>
                </a:moveTo>
                <a:cubicBezTo>
                  <a:pt x="5054546" y="3164598"/>
                  <a:pt x="5061213" y="3165550"/>
                  <a:pt x="5067881" y="3171265"/>
                </a:cubicBezTo>
                <a:cubicBezTo>
                  <a:pt x="5075501" y="3176028"/>
                  <a:pt x="5078358" y="3177933"/>
                  <a:pt x="5078358" y="3184600"/>
                </a:cubicBezTo>
                <a:cubicBezTo>
                  <a:pt x="5078358" y="3191268"/>
                  <a:pt x="5072643" y="3189363"/>
                  <a:pt x="5066928" y="3187458"/>
                </a:cubicBezTo>
                <a:cubicBezTo>
                  <a:pt x="5062165" y="3185553"/>
                  <a:pt x="5059308" y="3184600"/>
                  <a:pt x="5052640" y="3184600"/>
                </a:cubicBezTo>
                <a:cubicBezTo>
                  <a:pt x="5046926" y="3184600"/>
                  <a:pt x="5044068" y="3184600"/>
                  <a:pt x="5038353" y="3173171"/>
                </a:cubicBezTo>
                <a:cubicBezTo>
                  <a:pt x="5032638" y="3161740"/>
                  <a:pt x="5041210" y="3162693"/>
                  <a:pt x="5047878" y="3163646"/>
                </a:cubicBezTo>
                <a:close/>
                <a:moveTo>
                  <a:pt x="5061214" y="3136975"/>
                </a:moveTo>
                <a:cubicBezTo>
                  <a:pt x="5068834" y="3136023"/>
                  <a:pt x="5065976" y="3143643"/>
                  <a:pt x="5063119" y="3149358"/>
                </a:cubicBezTo>
                <a:cubicBezTo>
                  <a:pt x="5059309" y="3155073"/>
                  <a:pt x="5048831" y="3149358"/>
                  <a:pt x="5046926" y="3143643"/>
                </a:cubicBezTo>
                <a:cubicBezTo>
                  <a:pt x="5045021" y="3137928"/>
                  <a:pt x="5053594" y="3137928"/>
                  <a:pt x="5061214" y="3136975"/>
                </a:cubicBezTo>
                <a:close/>
                <a:moveTo>
                  <a:pt x="4979298" y="2995052"/>
                </a:moveTo>
                <a:cubicBezTo>
                  <a:pt x="4981203" y="2994100"/>
                  <a:pt x="4985966" y="2996957"/>
                  <a:pt x="4990728" y="2998862"/>
                </a:cubicBezTo>
                <a:cubicBezTo>
                  <a:pt x="4995491" y="3000767"/>
                  <a:pt x="4997396" y="3006482"/>
                  <a:pt x="4992634" y="3007435"/>
                </a:cubicBezTo>
                <a:cubicBezTo>
                  <a:pt x="4987871" y="3007435"/>
                  <a:pt x="4984061" y="3005530"/>
                  <a:pt x="4976441" y="2999815"/>
                </a:cubicBezTo>
                <a:cubicBezTo>
                  <a:pt x="4968821" y="2994100"/>
                  <a:pt x="4978346" y="2996005"/>
                  <a:pt x="4979298" y="2995052"/>
                </a:cubicBezTo>
                <a:close/>
                <a:moveTo>
                  <a:pt x="4777368" y="2113038"/>
                </a:moveTo>
                <a:cubicBezTo>
                  <a:pt x="4779273" y="2112085"/>
                  <a:pt x="4785941" y="2119705"/>
                  <a:pt x="4784036" y="2123515"/>
                </a:cubicBezTo>
                <a:cubicBezTo>
                  <a:pt x="4783083" y="2126373"/>
                  <a:pt x="4779273" y="2125420"/>
                  <a:pt x="4775463" y="2122563"/>
                </a:cubicBezTo>
                <a:cubicBezTo>
                  <a:pt x="4771653" y="2119705"/>
                  <a:pt x="4775463" y="2113990"/>
                  <a:pt x="4777368" y="2113038"/>
                </a:cubicBezTo>
                <a:close/>
                <a:moveTo>
                  <a:pt x="4784036" y="2064460"/>
                </a:moveTo>
                <a:cubicBezTo>
                  <a:pt x="4787846" y="2062555"/>
                  <a:pt x="4789751" y="2066365"/>
                  <a:pt x="4785941" y="2070175"/>
                </a:cubicBezTo>
                <a:cubicBezTo>
                  <a:pt x="4783083" y="2073985"/>
                  <a:pt x="4781178" y="2073985"/>
                  <a:pt x="4778321" y="2071127"/>
                </a:cubicBezTo>
                <a:cubicBezTo>
                  <a:pt x="4775463" y="2068270"/>
                  <a:pt x="4781178" y="2066365"/>
                  <a:pt x="4784036" y="2064460"/>
                </a:cubicBezTo>
                <a:close/>
                <a:moveTo>
                  <a:pt x="4536386" y="1993975"/>
                </a:moveTo>
                <a:cubicBezTo>
                  <a:pt x="4538291" y="1993022"/>
                  <a:pt x="4541148" y="1996832"/>
                  <a:pt x="4543053" y="2003500"/>
                </a:cubicBezTo>
                <a:cubicBezTo>
                  <a:pt x="4544958" y="2009215"/>
                  <a:pt x="4545911" y="2009215"/>
                  <a:pt x="4543053" y="2011120"/>
                </a:cubicBezTo>
                <a:cubicBezTo>
                  <a:pt x="4540196" y="2013025"/>
                  <a:pt x="4539243" y="2013025"/>
                  <a:pt x="4533528" y="2003500"/>
                </a:cubicBezTo>
                <a:cubicBezTo>
                  <a:pt x="4527813" y="1993975"/>
                  <a:pt x="4534481" y="1994927"/>
                  <a:pt x="4536386" y="1993975"/>
                </a:cubicBezTo>
                <a:close/>
                <a:moveTo>
                  <a:pt x="4756533" y="276"/>
                </a:moveTo>
                <a:cubicBezTo>
                  <a:pt x="4757605" y="-319"/>
                  <a:pt x="4758795" y="-81"/>
                  <a:pt x="4760224" y="2300"/>
                </a:cubicBezTo>
                <a:cubicBezTo>
                  <a:pt x="4762129" y="6110"/>
                  <a:pt x="4764987" y="5157"/>
                  <a:pt x="4764987" y="3252"/>
                </a:cubicBezTo>
                <a:cubicBezTo>
                  <a:pt x="4764987" y="395"/>
                  <a:pt x="4767844" y="-558"/>
                  <a:pt x="4772606" y="2300"/>
                </a:cubicBezTo>
                <a:cubicBezTo>
                  <a:pt x="4777369" y="5157"/>
                  <a:pt x="4780227" y="5157"/>
                  <a:pt x="4784037" y="6110"/>
                </a:cubicBezTo>
                <a:cubicBezTo>
                  <a:pt x="4786894" y="7062"/>
                  <a:pt x="4792609" y="3252"/>
                  <a:pt x="4795466" y="11825"/>
                </a:cubicBezTo>
                <a:cubicBezTo>
                  <a:pt x="4798324" y="19445"/>
                  <a:pt x="4809754" y="15635"/>
                  <a:pt x="4816422" y="15635"/>
                </a:cubicBezTo>
                <a:cubicBezTo>
                  <a:pt x="4824041" y="15635"/>
                  <a:pt x="4828804" y="17540"/>
                  <a:pt x="4830709" y="25160"/>
                </a:cubicBezTo>
                <a:cubicBezTo>
                  <a:pt x="4832614" y="32780"/>
                  <a:pt x="4842139" y="35637"/>
                  <a:pt x="4848806" y="34685"/>
                </a:cubicBezTo>
                <a:cubicBezTo>
                  <a:pt x="4855474" y="33732"/>
                  <a:pt x="4852616" y="30875"/>
                  <a:pt x="4863094" y="37542"/>
                </a:cubicBezTo>
                <a:cubicBezTo>
                  <a:pt x="4873572" y="44210"/>
                  <a:pt x="4874524" y="41352"/>
                  <a:pt x="4878334" y="33732"/>
                </a:cubicBezTo>
                <a:cubicBezTo>
                  <a:pt x="4881191" y="26112"/>
                  <a:pt x="4886907" y="28017"/>
                  <a:pt x="4890716" y="27065"/>
                </a:cubicBezTo>
                <a:cubicBezTo>
                  <a:pt x="4894527" y="26112"/>
                  <a:pt x="4905004" y="28017"/>
                  <a:pt x="4908814" y="29922"/>
                </a:cubicBezTo>
                <a:cubicBezTo>
                  <a:pt x="4911672" y="32780"/>
                  <a:pt x="4929769" y="40400"/>
                  <a:pt x="4937389" y="40400"/>
                </a:cubicBezTo>
                <a:cubicBezTo>
                  <a:pt x="4944057" y="40400"/>
                  <a:pt x="4948819" y="44210"/>
                  <a:pt x="4945009" y="52782"/>
                </a:cubicBezTo>
                <a:cubicBezTo>
                  <a:pt x="4941199" y="61355"/>
                  <a:pt x="4945009" y="59450"/>
                  <a:pt x="4949772" y="55640"/>
                </a:cubicBezTo>
                <a:cubicBezTo>
                  <a:pt x="4954534" y="52782"/>
                  <a:pt x="4961202" y="55640"/>
                  <a:pt x="4964059" y="61355"/>
                </a:cubicBezTo>
                <a:cubicBezTo>
                  <a:pt x="4966916" y="68023"/>
                  <a:pt x="4971679" y="68975"/>
                  <a:pt x="4978347" y="67070"/>
                </a:cubicBezTo>
                <a:cubicBezTo>
                  <a:pt x="4985014" y="65165"/>
                  <a:pt x="4982157" y="71832"/>
                  <a:pt x="4983109" y="74690"/>
                </a:cubicBezTo>
                <a:cubicBezTo>
                  <a:pt x="4983109" y="77547"/>
                  <a:pt x="4982157" y="79452"/>
                  <a:pt x="4980252" y="80405"/>
                </a:cubicBezTo>
                <a:cubicBezTo>
                  <a:pt x="4978347" y="81357"/>
                  <a:pt x="4974536" y="82311"/>
                  <a:pt x="4974536" y="86121"/>
                </a:cubicBezTo>
                <a:cubicBezTo>
                  <a:pt x="4974536" y="89931"/>
                  <a:pt x="4979299" y="90883"/>
                  <a:pt x="4984061" y="91836"/>
                </a:cubicBezTo>
                <a:cubicBezTo>
                  <a:pt x="4988824" y="91836"/>
                  <a:pt x="4992634" y="92788"/>
                  <a:pt x="4992634" y="96598"/>
                </a:cubicBezTo>
                <a:cubicBezTo>
                  <a:pt x="4993586" y="100408"/>
                  <a:pt x="4997397" y="105171"/>
                  <a:pt x="5003111" y="107076"/>
                </a:cubicBezTo>
                <a:cubicBezTo>
                  <a:pt x="5007874" y="108028"/>
                  <a:pt x="5012636" y="114696"/>
                  <a:pt x="5009779" y="118506"/>
                </a:cubicBezTo>
                <a:cubicBezTo>
                  <a:pt x="5007874" y="122316"/>
                  <a:pt x="5007874" y="123268"/>
                  <a:pt x="5011684" y="123268"/>
                </a:cubicBezTo>
                <a:cubicBezTo>
                  <a:pt x="5016447" y="122316"/>
                  <a:pt x="5020257" y="127078"/>
                  <a:pt x="5012636" y="129936"/>
                </a:cubicBezTo>
                <a:cubicBezTo>
                  <a:pt x="5005016" y="132793"/>
                  <a:pt x="5010732" y="140413"/>
                  <a:pt x="5018352" y="139461"/>
                </a:cubicBezTo>
                <a:cubicBezTo>
                  <a:pt x="5025972" y="139461"/>
                  <a:pt x="5028829" y="142318"/>
                  <a:pt x="5030734" y="146128"/>
                </a:cubicBezTo>
                <a:cubicBezTo>
                  <a:pt x="5033591" y="150891"/>
                  <a:pt x="5027877" y="153748"/>
                  <a:pt x="5025972" y="157558"/>
                </a:cubicBezTo>
                <a:cubicBezTo>
                  <a:pt x="5024066" y="161368"/>
                  <a:pt x="5031686" y="171846"/>
                  <a:pt x="5034544" y="174703"/>
                </a:cubicBezTo>
                <a:cubicBezTo>
                  <a:pt x="5037402" y="176608"/>
                  <a:pt x="5045974" y="189943"/>
                  <a:pt x="5047879" y="190896"/>
                </a:cubicBezTo>
                <a:cubicBezTo>
                  <a:pt x="5049784" y="191848"/>
                  <a:pt x="5060261" y="198516"/>
                  <a:pt x="5056452" y="204231"/>
                </a:cubicBezTo>
                <a:cubicBezTo>
                  <a:pt x="5051689" y="209946"/>
                  <a:pt x="5057404" y="210898"/>
                  <a:pt x="5062166" y="211851"/>
                </a:cubicBezTo>
                <a:cubicBezTo>
                  <a:pt x="5066929" y="212803"/>
                  <a:pt x="5072644" y="215661"/>
                  <a:pt x="5068834" y="222328"/>
                </a:cubicBezTo>
                <a:cubicBezTo>
                  <a:pt x="5065024" y="228996"/>
                  <a:pt x="5068834" y="228043"/>
                  <a:pt x="5075502" y="229948"/>
                </a:cubicBezTo>
                <a:cubicBezTo>
                  <a:pt x="5081216" y="231853"/>
                  <a:pt x="5078359" y="234711"/>
                  <a:pt x="5075502" y="237568"/>
                </a:cubicBezTo>
                <a:cubicBezTo>
                  <a:pt x="5072644" y="240426"/>
                  <a:pt x="5067882" y="245188"/>
                  <a:pt x="5073597" y="249951"/>
                </a:cubicBezTo>
                <a:cubicBezTo>
                  <a:pt x="5079311" y="254713"/>
                  <a:pt x="5080264" y="247093"/>
                  <a:pt x="5080264" y="244236"/>
                </a:cubicBezTo>
                <a:cubicBezTo>
                  <a:pt x="5080264" y="241379"/>
                  <a:pt x="5083122" y="236617"/>
                  <a:pt x="5086932" y="242331"/>
                </a:cubicBezTo>
                <a:cubicBezTo>
                  <a:pt x="5090741" y="247093"/>
                  <a:pt x="5084074" y="251856"/>
                  <a:pt x="5085027" y="266143"/>
                </a:cubicBezTo>
                <a:cubicBezTo>
                  <a:pt x="5085979" y="280431"/>
                  <a:pt x="5111697" y="289956"/>
                  <a:pt x="5113602" y="294718"/>
                </a:cubicBezTo>
                <a:cubicBezTo>
                  <a:pt x="5115507" y="299481"/>
                  <a:pt x="5127889" y="307101"/>
                  <a:pt x="5127889" y="311863"/>
                </a:cubicBezTo>
                <a:cubicBezTo>
                  <a:pt x="5127889" y="316626"/>
                  <a:pt x="5131699" y="319483"/>
                  <a:pt x="5134557" y="323293"/>
                </a:cubicBezTo>
                <a:cubicBezTo>
                  <a:pt x="5137414" y="327103"/>
                  <a:pt x="5139319" y="332819"/>
                  <a:pt x="5136461" y="338533"/>
                </a:cubicBezTo>
                <a:cubicBezTo>
                  <a:pt x="5133604" y="343296"/>
                  <a:pt x="5134557" y="348058"/>
                  <a:pt x="5138366" y="350916"/>
                </a:cubicBezTo>
                <a:cubicBezTo>
                  <a:pt x="5142177" y="353773"/>
                  <a:pt x="5142177" y="354726"/>
                  <a:pt x="5144082" y="363298"/>
                </a:cubicBezTo>
                <a:cubicBezTo>
                  <a:pt x="5145986" y="371871"/>
                  <a:pt x="5155511" y="373776"/>
                  <a:pt x="5161227" y="374729"/>
                </a:cubicBezTo>
                <a:cubicBezTo>
                  <a:pt x="5166941" y="375681"/>
                  <a:pt x="5167894" y="383301"/>
                  <a:pt x="5164084" y="391873"/>
                </a:cubicBezTo>
                <a:cubicBezTo>
                  <a:pt x="5160274" y="399494"/>
                  <a:pt x="5163132" y="404256"/>
                  <a:pt x="5165036" y="409018"/>
                </a:cubicBezTo>
                <a:cubicBezTo>
                  <a:pt x="5166941" y="412828"/>
                  <a:pt x="5168847" y="414734"/>
                  <a:pt x="5166941" y="422354"/>
                </a:cubicBezTo>
                <a:cubicBezTo>
                  <a:pt x="5165989" y="429974"/>
                  <a:pt x="5172657" y="433783"/>
                  <a:pt x="5176466" y="433783"/>
                </a:cubicBezTo>
                <a:cubicBezTo>
                  <a:pt x="5181229" y="434737"/>
                  <a:pt x="5183134" y="437593"/>
                  <a:pt x="5183134" y="440451"/>
                </a:cubicBezTo>
                <a:cubicBezTo>
                  <a:pt x="5183134" y="443308"/>
                  <a:pt x="5184086" y="446166"/>
                  <a:pt x="5186944" y="447119"/>
                </a:cubicBezTo>
                <a:cubicBezTo>
                  <a:pt x="5189802" y="448071"/>
                  <a:pt x="5191707" y="448071"/>
                  <a:pt x="5194564" y="451882"/>
                </a:cubicBezTo>
                <a:cubicBezTo>
                  <a:pt x="5197422" y="455691"/>
                  <a:pt x="5204089" y="454739"/>
                  <a:pt x="5206947" y="452833"/>
                </a:cubicBezTo>
                <a:cubicBezTo>
                  <a:pt x="5209804" y="450928"/>
                  <a:pt x="5213614" y="449024"/>
                  <a:pt x="5215519" y="451882"/>
                </a:cubicBezTo>
                <a:cubicBezTo>
                  <a:pt x="5218377" y="454739"/>
                  <a:pt x="5226949" y="456644"/>
                  <a:pt x="5229807" y="454739"/>
                </a:cubicBezTo>
                <a:cubicBezTo>
                  <a:pt x="5232664" y="452833"/>
                  <a:pt x="5236474" y="453786"/>
                  <a:pt x="5241236" y="451882"/>
                </a:cubicBezTo>
                <a:cubicBezTo>
                  <a:pt x="5245999" y="449977"/>
                  <a:pt x="5249809" y="447119"/>
                  <a:pt x="5255524" y="443308"/>
                </a:cubicBezTo>
                <a:cubicBezTo>
                  <a:pt x="5261239" y="438546"/>
                  <a:pt x="5267907" y="443308"/>
                  <a:pt x="5275527" y="441404"/>
                </a:cubicBezTo>
                <a:cubicBezTo>
                  <a:pt x="5283147" y="440451"/>
                  <a:pt x="5282194" y="444262"/>
                  <a:pt x="5281241" y="449024"/>
                </a:cubicBezTo>
                <a:cubicBezTo>
                  <a:pt x="5280289" y="454739"/>
                  <a:pt x="5287909" y="453786"/>
                  <a:pt x="5292672" y="452833"/>
                </a:cubicBezTo>
                <a:cubicBezTo>
                  <a:pt x="5297434" y="451882"/>
                  <a:pt x="5301244" y="453786"/>
                  <a:pt x="5306959" y="459502"/>
                </a:cubicBezTo>
                <a:cubicBezTo>
                  <a:pt x="5312674" y="465216"/>
                  <a:pt x="5321247" y="464264"/>
                  <a:pt x="5324104" y="460453"/>
                </a:cubicBezTo>
                <a:cubicBezTo>
                  <a:pt x="5326961" y="456644"/>
                  <a:pt x="5328866" y="458548"/>
                  <a:pt x="5333629" y="459502"/>
                </a:cubicBezTo>
                <a:cubicBezTo>
                  <a:pt x="5338391" y="460453"/>
                  <a:pt x="5341249" y="456644"/>
                  <a:pt x="5341249" y="453786"/>
                </a:cubicBezTo>
                <a:cubicBezTo>
                  <a:pt x="5341249" y="450928"/>
                  <a:pt x="5341249" y="449024"/>
                  <a:pt x="5346964" y="448071"/>
                </a:cubicBezTo>
                <a:cubicBezTo>
                  <a:pt x="5352679" y="446166"/>
                  <a:pt x="5354584" y="455691"/>
                  <a:pt x="5355536" y="460453"/>
                </a:cubicBezTo>
                <a:cubicBezTo>
                  <a:pt x="5356489" y="465216"/>
                  <a:pt x="5360299" y="469027"/>
                  <a:pt x="5365061" y="467122"/>
                </a:cubicBezTo>
                <a:cubicBezTo>
                  <a:pt x="5369824" y="465216"/>
                  <a:pt x="5371729" y="467122"/>
                  <a:pt x="5372682" y="469027"/>
                </a:cubicBezTo>
                <a:cubicBezTo>
                  <a:pt x="5373634" y="470931"/>
                  <a:pt x="5376491" y="475693"/>
                  <a:pt x="5379349" y="474742"/>
                </a:cubicBezTo>
                <a:cubicBezTo>
                  <a:pt x="5382207" y="474742"/>
                  <a:pt x="5394589" y="482362"/>
                  <a:pt x="5396494" y="489982"/>
                </a:cubicBezTo>
                <a:cubicBezTo>
                  <a:pt x="5400304" y="500458"/>
                  <a:pt x="5410782" y="500458"/>
                  <a:pt x="5417449" y="504268"/>
                </a:cubicBezTo>
                <a:cubicBezTo>
                  <a:pt x="5419354" y="505221"/>
                  <a:pt x="5421259" y="506173"/>
                  <a:pt x="5424116" y="506173"/>
                </a:cubicBezTo>
                <a:cubicBezTo>
                  <a:pt x="5428879" y="507126"/>
                  <a:pt x="5432689" y="506173"/>
                  <a:pt x="5434594" y="505221"/>
                </a:cubicBezTo>
                <a:cubicBezTo>
                  <a:pt x="5437452" y="503316"/>
                  <a:pt x="5442214" y="500458"/>
                  <a:pt x="5447929" y="503316"/>
                </a:cubicBezTo>
                <a:cubicBezTo>
                  <a:pt x="5453644" y="506173"/>
                  <a:pt x="5457454" y="502363"/>
                  <a:pt x="5462216" y="499506"/>
                </a:cubicBezTo>
                <a:cubicBezTo>
                  <a:pt x="5466979" y="496649"/>
                  <a:pt x="5469836" y="506173"/>
                  <a:pt x="5465074" y="511888"/>
                </a:cubicBezTo>
                <a:cubicBezTo>
                  <a:pt x="5460311" y="518556"/>
                  <a:pt x="5464122" y="521414"/>
                  <a:pt x="5462216" y="524272"/>
                </a:cubicBezTo>
                <a:cubicBezTo>
                  <a:pt x="5460311" y="527129"/>
                  <a:pt x="5460311" y="533796"/>
                  <a:pt x="5462216" y="534748"/>
                </a:cubicBezTo>
                <a:cubicBezTo>
                  <a:pt x="5464122" y="535702"/>
                  <a:pt x="5468884" y="538559"/>
                  <a:pt x="5469836" y="544273"/>
                </a:cubicBezTo>
                <a:cubicBezTo>
                  <a:pt x="5470789" y="549988"/>
                  <a:pt x="5473647" y="549036"/>
                  <a:pt x="5478409" y="546178"/>
                </a:cubicBezTo>
                <a:cubicBezTo>
                  <a:pt x="5483172" y="543321"/>
                  <a:pt x="5487934" y="549036"/>
                  <a:pt x="5487934" y="550941"/>
                </a:cubicBezTo>
                <a:cubicBezTo>
                  <a:pt x="5487934" y="553798"/>
                  <a:pt x="5486029" y="554751"/>
                  <a:pt x="5488886" y="557609"/>
                </a:cubicBezTo>
                <a:cubicBezTo>
                  <a:pt x="5490791" y="560467"/>
                  <a:pt x="5492697" y="563324"/>
                  <a:pt x="5493649" y="569038"/>
                </a:cubicBezTo>
                <a:cubicBezTo>
                  <a:pt x="5494602" y="574753"/>
                  <a:pt x="5497459" y="581422"/>
                  <a:pt x="5489839" y="590946"/>
                </a:cubicBezTo>
                <a:cubicBezTo>
                  <a:pt x="5482219" y="600472"/>
                  <a:pt x="5491744" y="608092"/>
                  <a:pt x="5500316" y="611901"/>
                </a:cubicBezTo>
                <a:cubicBezTo>
                  <a:pt x="5507936" y="615712"/>
                  <a:pt x="5517461" y="627141"/>
                  <a:pt x="5519366" y="631903"/>
                </a:cubicBezTo>
                <a:cubicBezTo>
                  <a:pt x="5521272" y="636666"/>
                  <a:pt x="5519366" y="639523"/>
                  <a:pt x="5529844" y="645239"/>
                </a:cubicBezTo>
                <a:cubicBezTo>
                  <a:pt x="5540322" y="650953"/>
                  <a:pt x="5543179" y="642381"/>
                  <a:pt x="5546989" y="638571"/>
                </a:cubicBezTo>
                <a:cubicBezTo>
                  <a:pt x="5550799" y="634761"/>
                  <a:pt x="5557466" y="635713"/>
                  <a:pt x="5562229" y="632857"/>
                </a:cubicBezTo>
                <a:cubicBezTo>
                  <a:pt x="5566991" y="629999"/>
                  <a:pt x="5572707" y="630951"/>
                  <a:pt x="5578422" y="633808"/>
                </a:cubicBezTo>
                <a:cubicBezTo>
                  <a:pt x="5584136" y="637619"/>
                  <a:pt x="5586041" y="636666"/>
                  <a:pt x="5587947" y="632857"/>
                </a:cubicBezTo>
                <a:cubicBezTo>
                  <a:pt x="5590804" y="629046"/>
                  <a:pt x="5599377" y="630951"/>
                  <a:pt x="5604139" y="630951"/>
                </a:cubicBezTo>
                <a:cubicBezTo>
                  <a:pt x="5608902" y="630951"/>
                  <a:pt x="5614616" y="629999"/>
                  <a:pt x="5616522" y="627141"/>
                </a:cubicBezTo>
                <a:cubicBezTo>
                  <a:pt x="5618427" y="624283"/>
                  <a:pt x="5621284" y="623332"/>
                  <a:pt x="5625094" y="624283"/>
                </a:cubicBezTo>
                <a:cubicBezTo>
                  <a:pt x="5628904" y="624283"/>
                  <a:pt x="5632714" y="623332"/>
                  <a:pt x="5634619" y="621426"/>
                </a:cubicBezTo>
                <a:cubicBezTo>
                  <a:pt x="5636524" y="619521"/>
                  <a:pt x="5637477" y="616663"/>
                  <a:pt x="5642239" y="612854"/>
                </a:cubicBezTo>
                <a:cubicBezTo>
                  <a:pt x="5647002" y="609043"/>
                  <a:pt x="5648907" y="611901"/>
                  <a:pt x="5654622" y="613806"/>
                </a:cubicBezTo>
                <a:cubicBezTo>
                  <a:pt x="5660336" y="615712"/>
                  <a:pt x="5664147" y="612854"/>
                  <a:pt x="5667004" y="609043"/>
                </a:cubicBezTo>
                <a:cubicBezTo>
                  <a:pt x="5669861" y="605234"/>
                  <a:pt x="5669861" y="599518"/>
                  <a:pt x="5668909" y="597614"/>
                </a:cubicBezTo>
                <a:cubicBezTo>
                  <a:pt x="5667957" y="594756"/>
                  <a:pt x="5667004" y="590946"/>
                  <a:pt x="5667957" y="582374"/>
                </a:cubicBezTo>
                <a:cubicBezTo>
                  <a:pt x="5668909" y="574753"/>
                  <a:pt x="5672719" y="577612"/>
                  <a:pt x="5676529" y="579516"/>
                </a:cubicBezTo>
                <a:cubicBezTo>
                  <a:pt x="5680339" y="581422"/>
                  <a:pt x="5682244" y="578563"/>
                  <a:pt x="5682244" y="575707"/>
                </a:cubicBezTo>
                <a:cubicBezTo>
                  <a:pt x="5682244" y="572849"/>
                  <a:pt x="5683197" y="569991"/>
                  <a:pt x="5688911" y="567133"/>
                </a:cubicBezTo>
                <a:cubicBezTo>
                  <a:pt x="5695579" y="564276"/>
                  <a:pt x="5695579" y="562371"/>
                  <a:pt x="5695579" y="557609"/>
                </a:cubicBezTo>
                <a:cubicBezTo>
                  <a:pt x="5695579" y="552847"/>
                  <a:pt x="5699389" y="551893"/>
                  <a:pt x="5701294" y="551893"/>
                </a:cubicBezTo>
                <a:cubicBezTo>
                  <a:pt x="5703199" y="551893"/>
                  <a:pt x="5706057" y="550941"/>
                  <a:pt x="5707009" y="549036"/>
                </a:cubicBezTo>
                <a:cubicBezTo>
                  <a:pt x="5707961" y="546178"/>
                  <a:pt x="5710819" y="544273"/>
                  <a:pt x="5713677" y="545226"/>
                </a:cubicBezTo>
                <a:cubicBezTo>
                  <a:pt x="5716534" y="546178"/>
                  <a:pt x="5717486" y="547131"/>
                  <a:pt x="5721297" y="545226"/>
                </a:cubicBezTo>
                <a:cubicBezTo>
                  <a:pt x="5725107" y="543321"/>
                  <a:pt x="5724154" y="545226"/>
                  <a:pt x="5735584" y="541416"/>
                </a:cubicBezTo>
                <a:cubicBezTo>
                  <a:pt x="5746061" y="537606"/>
                  <a:pt x="5746061" y="532844"/>
                  <a:pt x="5748919" y="529034"/>
                </a:cubicBezTo>
                <a:cubicBezTo>
                  <a:pt x="5751777" y="525223"/>
                  <a:pt x="5756539" y="514747"/>
                  <a:pt x="5764159" y="513794"/>
                </a:cubicBezTo>
                <a:cubicBezTo>
                  <a:pt x="5772732" y="512841"/>
                  <a:pt x="5771779" y="509983"/>
                  <a:pt x="5771779" y="508078"/>
                </a:cubicBezTo>
                <a:cubicBezTo>
                  <a:pt x="5772732" y="506173"/>
                  <a:pt x="5772732" y="503316"/>
                  <a:pt x="5779399" y="501411"/>
                </a:cubicBezTo>
                <a:cubicBezTo>
                  <a:pt x="5786066" y="499506"/>
                  <a:pt x="5788924" y="490933"/>
                  <a:pt x="5795591" y="490933"/>
                </a:cubicBezTo>
                <a:cubicBezTo>
                  <a:pt x="5803211" y="490933"/>
                  <a:pt x="5808927" y="486171"/>
                  <a:pt x="5811784" y="483313"/>
                </a:cubicBezTo>
                <a:cubicBezTo>
                  <a:pt x="5814641" y="480456"/>
                  <a:pt x="5822261" y="479504"/>
                  <a:pt x="5829882" y="481409"/>
                </a:cubicBezTo>
                <a:cubicBezTo>
                  <a:pt x="5830834" y="482362"/>
                  <a:pt x="5834644" y="484267"/>
                  <a:pt x="5838454" y="481409"/>
                </a:cubicBezTo>
                <a:cubicBezTo>
                  <a:pt x="5842264" y="479504"/>
                  <a:pt x="5846074" y="473789"/>
                  <a:pt x="5848932" y="470931"/>
                </a:cubicBezTo>
                <a:cubicBezTo>
                  <a:pt x="5853694" y="467122"/>
                  <a:pt x="5858457" y="466169"/>
                  <a:pt x="5858457" y="468073"/>
                </a:cubicBezTo>
                <a:cubicBezTo>
                  <a:pt x="5858457" y="469027"/>
                  <a:pt x="5862266" y="470931"/>
                  <a:pt x="5857504" y="475693"/>
                </a:cubicBezTo>
                <a:cubicBezTo>
                  <a:pt x="5853694" y="480456"/>
                  <a:pt x="5845122" y="485218"/>
                  <a:pt x="5839407" y="490933"/>
                </a:cubicBezTo>
                <a:cubicBezTo>
                  <a:pt x="5835597" y="494744"/>
                  <a:pt x="5833691" y="499506"/>
                  <a:pt x="5833691" y="501411"/>
                </a:cubicBezTo>
                <a:cubicBezTo>
                  <a:pt x="5833691" y="504268"/>
                  <a:pt x="5834644" y="514747"/>
                  <a:pt x="5833691" y="518556"/>
                </a:cubicBezTo>
                <a:cubicBezTo>
                  <a:pt x="5832739" y="522367"/>
                  <a:pt x="5830834" y="528082"/>
                  <a:pt x="5829882" y="533796"/>
                </a:cubicBezTo>
                <a:cubicBezTo>
                  <a:pt x="5828929" y="539511"/>
                  <a:pt x="5832739" y="546178"/>
                  <a:pt x="5838454" y="544273"/>
                </a:cubicBezTo>
                <a:cubicBezTo>
                  <a:pt x="5844169" y="542368"/>
                  <a:pt x="5845122" y="546178"/>
                  <a:pt x="5845122" y="548083"/>
                </a:cubicBezTo>
                <a:cubicBezTo>
                  <a:pt x="5845122" y="550941"/>
                  <a:pt x="5850836" y="555703"/>
                  <a:pt x="5853694" y="557609"/>
                </a:cubicBezTo>
                <a:cubicBezTo>
                  <a:pt x="5856552" y="559513"/>
                  <a:pt x="5863219" y="567133"/>
                  <a:pt x="5858457" y="572849"/>
                </a:cubicBezTo>
                <a:cubicBezTo>
                  <a:pt x="5854647" y="577612"/>
                  <a:pt x="5860361" y="582374"/>
                  <a:pt x="5855599" y="587136"/>
                </a:cubicBezTo>
                <a:cubicBezTo>
                  <a:pt x="5850836" y="591898"/>
                  <a:pt x="5849884" y="604281"/>
                  <a:pt x="5841311" y="607138"/>
                </a:cubicBezTo>
                <a:cubicBezTo>
                  <a:pt x="5827024" y="611901"/>
                  <a:pt x="5827024" y="617617"/>
                  <a:pt x="5823214" y="622379"/>
                </a:cubicBezTo>
                <a:cubicBezTo>
                  <a:pt x="5819404" y="627141"/>
                  <a:pt x="5821309" y="636666"/>
                  <a:pt x="5824166" y="641428"/>
                </a:cubicBezTo>
                <a:cubicBezTo>
                  <a:pt x="5827977" y="646191"/>
                  <a:pt x="5828929" y="656668"/>
                  <a:pt x="5823214" y="663336"/>
                </a:cubicBezTo>
                <a:cubicBezTo>
                  <a:pt x="5817499" y="669051"/>
                  <a:pt x="5819404" y="683338"/>
                  <a:pt x="5822261" y="689053"/>
                </a:cubicBezTo>
                <a:cubicBezTo>
                  <a:pt x="5825119" y="694768"/>
                  <a:pt x="5823214" y="710961"/>
                  <a:pt x="5824166" y="715723"/>
                </a:cubicBezTo>
                <a:cubicBezTo>
                  <a:pt x="5824166" y="717628"/>
                  <a:pt x="5825119" y="719533"/>
                  <a:pt x="5824166" y="721438"/>
                </a:cubicBezTo>
                <a:cubicBezTo>
                  <a:pt x="5824166" y="725248"/>
                  <a:pt x="5822261" y="728106"/>
                  <a:pt x="5820357" y="730011"/>
                </a:cubicBezTo>
                <a:cubicBezTo>
                  <a:pt x="5816547" y="732868"/>
                  <a:pt x="5814641" y="738583"/>
                  <a:pt x="5817499" y="745251"/>
                </a:cubicBezTo>
                <a:cubicBezTo>
                  <a:pt x="5819404" y="750966"/>
                  <a:pt x="5825119" y="756681"/>
                  <a:pt x="5827024" y="763348"/>
                </a:cubicBezTo>
                <a:cubicBezTo>
                  <a:pt x="5829882" y="770016"/>
                  <a:pt x="5828929" y="780493"/>
                  <a:pt x="5822261" y="784303"/>
                </a:cubicBezTo>
                <a:cubicBezTo>
                  <a:pt x="5815594" y="789066"/>
                  <a:pt x="5816547" y="798591"/>
                  <a:pt x="5817499" y="800496"/>
                </a:cubicBezTo>
                <a:cubicBezTo>
                  <a:pt x="5818452" y="802401"/>
                  <a:pt x="5821309" y="803353"/>
                  <a:pt x="5820357" y="810973"/>
                </a:cubicBezTo>
                <a:cubicBezTo>
                  <a:pt x="5819404" y="818593"/>
                  <a:pt x="5815594" y="822403"/>
                  <a:pt x="5812736" y="828118"/>
                </a:cubicBezTo>
                <a:cubicBezTo>
                  <a:pt x="5809879" y="834786"/>
                  <a:pt x="5800354" y="831928"/>
                  <a:pt x="5804164" y="841453"/>
                </a:cubicBezTo>
                <a:cubicBezTo>
                  <a:pt x="5805116" y="843358"/>
                  <a:pt x="5806069" y="847168"/>
                  <a:pt x="5805116" y="849073"/>
                </a:cubicBezTo>
                <a:cubicBezTo>
                  <a:pt x="5804164" y="850978"/>
                  <a:pt x="5803211" y="855741"/>
                  <a:pt x="5805116" y="857646"/>
                </a:cubicBezTo>
                <a:cubicBezTo>
                  <a:pt x="5807022" y="859551"/>
                  <a:pt x="5807974" y="862408"/>
                  <a:pt x="5807974" y="866218"/>
                </a:cubicBezTo>
                <a:cubicBezTo>
                  <a:pt x="5807974" y="869076"/>
                  <a:pt x="5799402" y="875743"/>
                  <a:pt x="5793686" y="883363"/>
                </a:cubicBezTo>
                <a:cubicBezTo>
                  <a:pt x="5790829" y="887173"/>
                  <a:pt x="5788924" y="892888"/>
                  <a:pt x="5787972" y="898603"/>
                </a:cubicBezTo>
                <a:cubicBezTo>
                  <a:pt x="5787019" y="903366"/>
                  <a:pt x="5787019" y="908128"/>
                  <a:pt x="5786066" y="911938"/>
                </a:cubicBezTo>
                <a:cubicBezTo>
                  <a:pt x="5784161" y="919558"/>
                  <a:pt x="5787019" y="924321"/>
                  <a:pt x="5788924" y="927178"/>
                </a:cubicBezTo>
                <a:cubicBezTo>
                  <a:pt x="5790829" y="930036"/>
                  <a:pt x="5794639" y="930988"/>
                  <a:pt x="5795591" y="937656"/>
                </a:cubicBezTo>
                <a:cubicBezTo>
                  <a:pt x="5796544" y="944323"/>
                  <a:pt x="5795591" y="942418"/>
                  <a:pt x="5789877" y="951943"/>
                </a:cubicBezTo>
                <a:cubicBezTo>
                  <a:pt x="5784161" y="960516"/>
                  <a:pt x="5771779" y="957658"/>
                  <a:pt x="5771779" y="957658"/>
                </a:cubicBezTo>
                <a:lnTo>
                  <a:pt x="5770827" y="957658"/>
                </a:lnTo>
                <a:cubicBezTo>
                  <a:pt x="5770827" y="957658"/>
                  <a:pt x="5742252" y="954801"/>
                  <a:pt x="5735584" y="954801"/>
                </a:cubicBezTo>
                <a:cubicBezTo>
                  <a:pt x="5728916" y="954801"/>
                  <a:pt x="5700341" y="951943"/>
                  <a:pt x="5694627" y="951943"/>
                </a:cubicBezTo>
                <a:cubicBezTo>
                  <a:pt x="5688911" y="951943"/>
                  <a:pt x="5681291" y="950038"/>
                  <a:pt x="5679386" y="946228"/>
                </a:cubicBezTo>
                <a:cubicBezTo>
                  <a:pt x="5677482" y="942418"/>
                  <a:pt x="5673672" y="936703"/>
                  <a:pt x="5671766" y="940513"/>
                </a:cubicBezTo>
                <a:cubicBezTo>
                  <a:pt x="5669861" y="944323"/>
                  <a:pt x="5668909" y="951943"/>
                  <a:pt x="5667957" y="952896"/>
                </a:cubicBezTo>
                <a:cubicBezTo>
                  <a:pt x="5667957" y="954801"/>
                  <a:pt x="5668909" y="959563"/>
                  <a:pt x="5662241" y="960516"/>
                </a:cubicBezTo>
                <a:cubicBezTo>
                  <a:pt x="5656527" y="961468"/>
                  <a:pt x="5657479" y="964326"/>
                  <a:pt x="5656527" y="966231"/>
                </a:cubicBezTo>
                <a:cubicBezTo>
                  <a:pt x="5656527" y="968136"/>
                  <a:pt x="5658432" y="969088"/>
                  <a:pt x="5659384" y="970041"/>
                </a:cubicBezTo>
                <a:cubicBezTo>
                  <a:pt x="5660336" y="970993"/>
                  <a:pt x="5658432" y="976708"/>
                  <a:pt x="5656527" y="979566"/>
                </a:cubicBezTo>
                <a:cubicBezTo>
                  <a:pt x="5654622" y="982423"/>
                  <a:pt x="5649859" y="988138"/>
                  <a:pt x="5647954" y="990043"/>
                </a:cubicBezTo>
                <a:cubicBezTo>
                  <a:pt x="5646049" y="990996"/>
                  <a:pt x="5644144" y="992901"/>
                  <a:pt x="5646049" y="995758"/>
                </a:cubicBezTo>
                <a:cubicBezTo>
                  <a:pt x="5647954" y="998616"/>
                  <a:pt x="5647954" y="1004331"/>
                  <a:pt x="5645097" y="1004331"/>
                </a:cubicBezTo>
                <a:cubicBezTo>
                  <a:pt x="5641286" y="1004331"/>
                  <a:pt x="5631761" y="1004331"/>
                  <a:pt x="5630809" y="1008141"/>
                </a:cubicBezTo>
                <a:cubicBezTo>
                  <a:pt x="5630809" y="1011951"/>
                  <a:pt x="5626999" y="1015761"/>
                  <a:pt x="5623189" y="1013856"/>
                </a:cubicBezTo>
                <a:cubicBezTo>
                  <a:pt x="5619379" y="1011951"/>
                  <a:pt x="5613664" y="1012903"/>
                  <a:pt x="5613664" y="1014808"/>
                </a:cubicBezTo>
                <a:cubicBezTo>
                  <a:pt x="5613664" y="1016713"/>
                  <a:pt x="5615569" y="1021476"/>
                  <a:pt x="5610807" y="1023381"/>
                </a:cubicBezTo>
                <a:cubicBezTo>
                  <a:pt x="5606997" y="1025286"/>
                  <a:pt x="5605091" y="1025286"/>
                  <a:pt x="5606044" y="1027191"/>
                </a:cubicBezTo>
                <a:cubicBezTo>
                  <a:pt x="5607949" y="1031001"/>
                  <a:pt x="5607949" y="1031953"/>
                  <a:pt x="5610807" y="1031953"/>
                </a:cubicBezTo>
                <a:cubicBezTo>
                  <a:pt x="5613664" y="1031001"/>
                  <a:pt x="5618427" y="1040526"/>
                  <a:pt x="5620332" y="1043383"/>
                </a:cubicBezTo>
                <a:cubicBezTo>
                  <a:pt x="5622236" y="1046241"/>
                  <a:pt x="5650811" y="1107201"/>
                  <a:pt x="5650811" y="1107201"/>
                </a:cubicBezTo>
                <a:lnTo>
                  <a:pt x="5654622" y="1116726"/>
                </a:lnTo>
                <a:cubicBezTo>
                  <a:pt x="5660336" y="1123393"/>
                  <a:pt x="5654622" y="1124346"/>
                  <a:pt x="5652716" y="1132915"/>
                </a:cubicBezTo>
                <a:cubicBezTo>
                  <a:pt x="5651764" y="1137678"/>
                  <a:pt x="5654622" y="1136725"/>
                  <a:pt x="5654622" y="1143393"/>
                </a:cubicBezTo>
                <a:cubicBezTo>
                  <a:pt x="5654622" y="1150060"/>
                  <a:pt x="5653669" y="1158633"/>
                  <a:pt x="5655574" y="1161490"/>
                </a:cubicBezTo>
                <a:cubicBezTo>
                  <a:pt x="5657479" y="1164348"/>
                  <a:pt x="5663194" y="1178635"/>
                  <a:pt x="5662241" y="1185303"/>
                </a:cubicBezTo>
                <a:cubicBezTo>
                  <a:pt x="5662241" y="1186255"/>
                  <a:pt x="5662241" y="1188160"/>
                  <a:pt x="5662241" y="1189113"/>
                </a:cubicBezTo>
                <a:cubicBezTo>
                  <a:pt x="5662241" y="1193875"/>
                  <a:pt x="5663194" y="1195780"/>
                  <a:pt x="5666052" y="1196733"/>
                </a:cubicBezTo>
                <a:cubicBezTo>
                  <a:pt x="5667004" y="1196733"/>
                  <a:pt x="5667957" y="1197685"/>
                  <a:pt x="5668909" y="1197685"/>
                </a:cubicBezTo>
                <a:lnTo>
                  <a:pt x="5669861" y="1200543"/>
                </a:lnTo>
                <a:cubicBezTo>
                  <a:pt x="5669861" y="1200543"/>
                  <a:pt x="5676529" y="1205305"/>
                  <a:pt x="5675577" y="1213878"/>
                </a:cubicBezTo>
                <a:cubicBezTo>
                  <a:pt x="5674624" y="1221498"/>
                  <a:pt x="5675577" y="1220545"/>
                  <a:pt x="5675577" y="1222450"/>
                </a:cubicBezTo>
                <a:cubicBezTo>
                  <a:pt x="5676529" y="1224355"/>
                  <a:pt x="5674624" y="1230070"/>
                  <a:pt x="5672719" y="1231975"/>
                </a:cubicBezTo>
                <a:cubicBezTo>
                  <a:pt x="5671766" y="1233880"/>
                  <a:pt x="5670814" y="1236738"/>
                  <a:pt x="5672719" y="1239595"/>
                </a:cubicBezTo>
                <a:cubicBezTo>
                  <a:pt x="5674624" y="1242453"/>
                  <a:pt x="5674624" y="1252930"/>
                  <a:pt x="5670814" y="1255788"/>
                </a:cubicBezTo>
                <a:cubicBezTo>
                  <a:pt x="5667004" y="1259598"/>
                  <a:pt x="5665099" y="1262455"/>
                  <a:pt x="5667957" y="1266265"/>
                </a:cubicBezTo>
                <a:cubicBezTo>
                  <a:pt x="5669861" y="1269123"/>
                  <a:pt x="5676529" y="1281505"/>
                  <a:pt x="5668909" y="1277695"/>
                </a:cubicBezTo>
                <a:cubicBezTo>
                  <a:pt x="5661289" y="1273885"/>
                  <a:pt x="5661289" y="1278648"/>
                  <a:pt x="5663194" y="1279600"/>
                </a:cubicBezTo>
                <a:cubicBezTo>
                  <a:pt x="5666052" y="1280553"/>
                  <a:pt x="5669861" y="1286268"/>
                  <a:pt x="5663194" y="1286268"/>
                </a:cubicBezTo>
                <a:cubicBezTo>
                  <a:pt x="5656527" y="1287220"/>
                  <a:pt x="5656527" y="1289125"/>
                  <a:pt x="5656527" y="1289125"/>
                </a:cubicBezTo>
                <a:cubicBezTo>
                  <a:pt x="5656527" y="1289125"/>
                  <a:pt x="5653669" y="1291983"/>
                  <a:pt x="5650811" y="1289125"/>
                </a:cubicBezTo>
                <a:cubicBezTo>
                  <a:pt x="5647954" y="1286268"/>
                  <a:pt x="5644144" y="1288173"/>
                  <a:pt x="5644144" y="1291030"/>
                </a:cubicBezTo>
                <a:cubicBezTo>
                  <a:pt x="5644144" y="1293888"/>
                  <a:pt x="5644144" y="1295793"/>
                  <a:pt x="5639382" y="1296745"/>
                </a:cubicBezTo>
                <a:cubicBezTo>
                  <a:pt x="5635572" y="1297698"/>
                  <a:pt x="5628904" y="1298650"/>
                  <a:pt x="5626999" y="1300555"/>
                </a:cubicBezTo>
                <a:cubicBezTo>
                  <a:pt x="5625094" y="1302460"/>
                  <a:pt x="5622236" y="1307223"/>
                  <a:pt x="5619379" y="1309128"/>
                </a:cubicBezTo>
                <a:cubicBezTo>
                  <a:pt x="5616522" y="1311033"/>
                  <a:pt x="5614616" y="1311985"/>
                  <a:pt x="5613664" y="1314843"/>
                </a:cubicBezTo>
                <a:cubicBezTo>
                  <a:pt x="5612711" y="1317700"/>
                  <a:pt x="5609854" y="1319605"/>
                  <a:pt x="5614616" y="1320558"/>
                </a:cubicBezTo>
                <a:cubicBezTo>
                  <a:pt x="5618427" y="1321510"/>
                  <a:pt x="5623189" y="1320558"/>
                  <a:pt x="5624141" y="1317700"/>
                </a:cubicBezTo>
                <a:cubicBezTo>
                  <a:pt x="5626047" y="1314843"/>
                  <a:pt x="5628904" y="1318653"/>
                  <a:pt x="5631761" y="1322463"/>
                </a:cubicBezTo>
                <a:cubicBezTo>
                  <a:pt x="5633666" y="1327225"/>
                  <a:pt x="5639382" y="1335798"/>
                  <a:pt x="5636524" y="1337703"/>
                </a:cubicBezTo>
                <a:cubicBezTo>
                  <a:pt x="5633666" y="1339608"/>
                  <a:pt x="5636524" y="1344370"/>
                  <a:pt x="5639382" y="1346275"/>
                </a:cubicBezTo>
                <a:cubicBezTo>
                  <a:pt x="5642239" y="1348180"/>
                  <a:pt x="5641286" y="1349133"/>
                  <a:pt x="5641286" y="1351038"/>
                </a:cubicBezTo>
                <a:cubicBezTo>
                  <a:pt x="5641286" y="1352943"/>
                  <a:pt x="5636524" y="1355800"/>
                  <a:pt x="5635572" y="1354848"/>
                </a:cubicBezTo>
                <a:cubicBezTo>
                  <a:pt x="5631761" y="1351038"/>
                  <a:pt x="5627952" y="1344370"/>
                  <a:pt x="5626999" y="1342465"/>
                </a:cubicBezTo>
                <a:cubicBezTo>
                  <a:pt x="5626047" y="1338655"/>
                  <a:pt x="5623189" y="1335798"/>
                  <a:pt x="5621284" y="1339608"/>
                </a:cubicBezTo>
                <a:cubicBezTo>
                  <a:pt x="5619379" y="1343418"/>
                  <a:pt x="5622236" y="1343418"/>
                  <a:pt x="5619379" y="1344370"/>
                </a:cubicBezTo>
                <a:cubicBezTo>
                  <a:pt x="5616522" y="1344370"/>
                  <a:pt x="5613664" y="1342465"/>
                  <a:pt x="5614616" y="1340560"/>
                </a:cubicBezTo>
                <a:cubicBezTo>
                  <a:pt x="5614616" y="1338655"/>
                  <a:pt x="5613664" y="1338655"/>
                  <a:pt x="5610807" y="1338655"/>
                </a:cubicBezTo>
                <a:cubicBezTo>
                  <a:pt x="5608902" y="1338655"/>
                  <a:pt x="5605091" y="1331035"/>
                  <a:pt x="5602234" y="1328178"/>
                </a:cubicBezTo>
                <a:cubicBezTo>
                  <a:pt x="5599377" y="1325320"/>
                  <a:pt x="5593661" y="1320558"/>
                  <a:pt x="5595566" y="1313890"/>
                </a:cubicBezTo>
                <a:cubicBezTo>
                  <a:pt x="5597472" y="1307223"/>
                  <a:pt x="5595566" y="1302460"/>
                  <a:pt x="5592709" y="1301508"/>
                </a:cubicBezTo>
                <a:cubicBezTo>
                  <a:pt x="5589852" y="1300555"/>
                  <a:pt x="5577469" y="1304365"/>
                  <a:pt x="5578422" y="1298650"/>
                </a:cubicBezTo>
                <a:cubicBezTo>
                  <a:pt x="5579374" y="1292935"/>
                  <a:pt x="5575564" y="1293888"/>
                  <a:pt x="5573659" y="1293888"/>
                </a:cubicBezTo>
                <a:cubicBezTo>
                  <a:pt x="5570802" y="1293888"/>
                  <a:pt x="5567944" y="1293888"/>
                  <a:pt x="5566991" y="1291983"/>
                </a:cubicBezTo>
                <a:cubicBezTo>
                  <a:pt x="5566039" y="1290078"/>
                  <a:pt x="5564134" y="1290078"/>
                  <a:pt x="5562229" y="1291030"/>
                </a:cubicBezTo>
                <a:cubicBezTo>
                  <a:pt x="5561277" y="1291983"/>
                  <a:pt x="5560324" y="1291030"/>
                  <a:pt x="5558419" y="1291983"/>
                </a:cubicBezTo>
                <a:cubicBezTo>
                  <a:pt x="5556514" y="1293888"/>
                  <a:pt x="5558419" y="1297698"/>
                  <a:pt x="5556514" y="1299603"/>
                </a:cubicBezTo>
                <a:cubicBezTo>
                  <a:pt x="5554609" y="1301508"/>
                  <a:pt x="5553657" y="1305318"/>
                  <a:pt x="5554609" y="1307223"/>
                </a:cubicBezTo>
                <a:cubicBezTo>
                  <a:pt x="5555561" y="1309128"/>
                  <a:pt x="5555561" y="1313890"/>
                  <a:pt x="5554609" y="1316748"/>
                </a:cubicBezTo>
                <a:cubicBezTo>
                  <a:pt x="5553657" y="1319605"/>
                  <a:pt x="5554609" y="1329130"/>
                  <a:pt x="5556514" y="1331988"/>
                </a:cubicBezTo>
                <a:cubicBezTo>
                  <a:pt x="5558419" y="1334845"/>
                  <a:pt x="5558419" y="1342465"/>
                  <a:pt x="5556514" y="1347228"/>
                </a:cubicBezTo>
                <a:cubicBezTo>
                  <a:pt x="5553657" y="1351990"/>
                  <a:pt x="5556514" y="1361515"/>
                  <a:pt x="5558419" y="1363420"/>
                </a:cubicBezTo>
                <a:cubicBezTo>
                  <a:pt x="5560324" y="1365325"/>
                  <a:pt x="5558419" y="1373898"/>
                  <a:pt x="5552704" y="1373898"/>
                </a:cubicBezTo>
                <a:cubicBezTo>
                  <a:pt x="5547941" y="1372945"/>
                  <a:pt x="5545084" y="1373898"/>
                  <a:pt x="5546036" y="1378660"/>
                </a:cubicBezTo>
                <a:cubicBezTo>
                  <a:pt x="5546989" y="1383423"/>
                  <a:pt x="5546036" y="1385328"/>
                  <a:pt x="5543179" y="1386280"/>
                </a:cubicBezTo>
                <a:cubicBezTo>
                  <a:pt x="5541274" y="1386280"/>
                  <a:pt x="5539369" y="1385328"/>
                  <a:pt x="5531749" y="1380565"/>
                </a:cubicBezTo>
                <a:cubicBezTo>
                  <a:pt x="5526034" y="1379613"/>
                  <a:pt x="5521272" y="1381518"/>
                  <a:pt x="5520319" y="1382470"/>
                </a:cubicBezTo>
                <a:cubicBezTo>
                  <a:pt x="5520319" y="1385328"/>
                  <a:pt x="5517461" y="1387233"/>
                  <a:pt x="5516509" y="1389138"/>
                </a:cubicBezTo>
                <a:cubicBezTo>
                  <a:pt x="5514604" y="1391043"/>
                  <a:pt x="5510794" y="1400568"/>
                  <a:pt x="5512699" y="1405330"/>
                </a:cubicBezTo>
                <a:cubicBezTo>
                  <a:pt x="5514604" y="1410093"/>
                  <a:pt x="5509841" y="1420570"/>
                  <a:pt x="5506032" y="1423428"/>
                </a:cubicBezTo>
                <a:cubicBezTo>
                  <a:pt x="5500316" y="1427238"/>
                  <a:pt x="5499364" y="1429143"/>
                  <a:pt x="5499364" y="1432000"/>
                </a:cubicBezTo>
                <a:cubicBezTo>
                  <a:pt x="5499364" y="1434858"/>
                  <a:pt x="5500316" y="1437715"/>
                  <a:pt x="5499364" y="1442478"/>
                </a:cubicBezTo>
                <a:cubicBezTo>
                  <a:pt x="5496507" y="1450098"/>
                  <a:pt x="5478409" y="1446288"/>
                  <a:pt x="5473647" y="1446288"/>
                </a:cubicBezTo>
                <a:cubicBezTo>
                  <a:pt x="5468884" y="1446288"/>
                  <a:pt x="5459359" y="1452003"/>
                  <a:pt x="5456502" y="1452955"/>
                </a:cubicBezTo>
                <a:cubicBezTo>
                  <a:pt x="5456502" y="1453908"/>
                  <a:pt x="5449834" y="1456765"/>
                  <a:pt x="5440309" y="1459623"/>
                </a:cubicBezTo>
                <a:cubicBezTo>
                  <a:pt x="5430784" y="1462480"/>
                  <a:pt x="5424116" y="1461528"/>
                  <a:pt x="5418402" y="1460575"/>
                </a:cubicBezTo>
                <a:cubicBezTo>
                  <a:pt x="5412686" y="1459623"/>
                  <a:pt x="5410782" y="1459623"/>
                  <a:pt x="5409829" y="1462480"/>
                </a:cubicBezTo>
                <a:cubicBezTo>
                  <a:pt x="5408877" y="1465338"/>
                  <a:pt x="5406019" y="1465338"/>
                  <a:pt x="5412686" y="1469148"/>
                </a:cubicBezTo>
                <a:cubicBezTo>
                  <a:pt x="5414591" y="1470100"/>
                  <a:pt x="5415544" y="1472005"/>
                  <a:pt x="5416497" y="1473910"/>
                </a:cubicBezTo>
                <a:cubicBezTo>
                  <a:pt x="5418402" y="1481530"/>
                  <a:pt x="5417449" y="1485340"/>
                  <a:pt x="5419354" y="1490103"/>
                </a:cubicBezTo>
                <a:cubicBezTo>
                  <a:pt x="5420307" y="1492008"/>
                  <a:pt x="5421259" y="1494865"/>
                  <a:pt x="5423164" y="1496770"/>
                </a:cubicBezTo>
                <a:cubicBezTo>
                  <a:pt x="5425069" y="1498675"/>
                  <a:pt x="5426022" y="1501533"/>
                  <a:pt x="5428879" y="1502485"/>
                </a:cubicBezTo>
                <a:cubicBezTo>
                  <a:pt x="5433641" y="1503438"/>
                  <a:pt x="5438404" y="1502485"/>
                  <a:pt x="5440309" y="1508200"/>
                </a:cubicBezTo>
                <a:cubicBezTo>
                  <a:pt x="5442214" y="1513915"/>
                  <a:pt x="5443166" y="1514868"/>
                  <a:pt x="5445072" y="1516773"/>
                </a:cubicBezTo>
                <a:cubicBezTo>
                  <a:pt x="5446977" y="1518678"/>
                  <a:pt x="5446024" y="1523440"/>
                  <a:pt x="5444119" y="1526298"/>
                </a:cubicBezTo>
                <a:cubicBezTo>
                  <a:pt x="5442214" y="1529155"/>
                  <a:pt x="5441261" y="1531060"/>
                  <a:pt x="5441261" y="1534870"/>
                </a:cubicBezTo>
                <a:cubicBezTo>
                  <a:pt x="5441261" y="1536775"/>
                  <a:pt x="5441261" y="1539633"/>
                  <a:pt x="5440309" y="1541538"/>
                </a:cubicBezTo>
                <a:cubicBezTo>
                  <a:pt x="5439357" y="1543443"/>
                  <a:pt x="5437452" y="1545348"/>
                  <a:pt x="5436499" y="1546300"/>
                </a:cubicBezTo>
                <a:cubicBezTo>
                  <a:pt x="5432689" y="1548205"/>
                  <a:pt x="5427927" y="1548205"/>
                  <a:pt x="5424116" y="1545348"/>
                </a:cubicBezTo>
                <a:cubicBezTo>
                  <a:pt x="5422211" y="1543443"/>
                  <a:pt x="5412686" y="1541538"/>
                  <a:pt x="5410782" y="1544395"/>
                </a:cubicBezTo>
                <a:cubicBezTo>
                  <a:pt x="5408877" y="1548205"/>
                  <a:pt x="5404114" y="1550110"/>
                  <a:pt x="5400304" y="1550110"/>
                </a:cubicBezTo>
                <a:cubicBezTo>
                  <a:pt x="5397447" y="1551063"/>
                  <a:pt x="5390779" y="1551063"/>
                  <a:pt x="5387922" y="1552015"/>
                </a:cubicBezTo>
                <a:cubicBezTo>
                  <a:pt x="5386016" y="1553920"/>
                  <a:pt x="5378397" y="1552968"/>
                  <a:pt x="5375539" y="1550110"/>
                </a:cubicBezTo>
                <a:cubicBezTo>
                  <a:pt x="5373634" y="1547253"/>
                  <a:pt x="5372682" y="1543443"/>
                  <a:pt x="5368872" y="1546300"/>
                </a:cubicBezTo>
                <a:cubicBezTo>
                  <a:pt x="5365061" y="1549158"/>
                  <a:pt x="5362204" y="1551063"/>
                  <a:pt x="5358394" y="1550110"/>
                </a:cubicBezTo>
                <a:cubicBezTo>
                  <a:pt x="5354584" y="1549158"/>
                  <a:pt x="5347916" y="1551063"/>
                  <a:pt x="5345059" y="1547253"/>
                </a:cubicBezTo>
                <a:cubicBezTo>
                  <a:pt x="5342202" y="1543443"/>
                  <a:pt x="5340297" y="1542490"/>
                  <a:pt x="5336486" y="1543443"/>
                </a:cubicBezTo>
                <a:cubicBezTo>
                  <a:pt x="5332677" y="1544395"/>
                  <a:pt x="5330772" y="1539633"/>
                  <a:pt x="5333629" y="1537728"/>
                </a:cubicBezTo>
                <a:cubicBezTo>
                  <a:pt x="5335534" y="1536775"/>
                  <a:pt x="5334582" y="1534870"/>
                  <a:pt x="5333629" y="1532965"/>
                </a:cubicBezTo>
                <a:cubicBezTo>
                  <a:pt x="5332677" y="1532013"/>
                  <a:pt x="5330772" y="1531060"/>
                  <a:pt x="5328866" y="1531060"/>
                </a:cubicBezTo>
                <a:cubicBezTo>
                  <a:pt x="5326009" y="1531060"/>
                  <a:pt x="5318389" y="1525345"/>
                  <a:pt x="5320294" y="1521535"/>
                </a:cubicBezTo>
                <a:cubicBezTo>
                  <a:pt x="5322199" y="1517725"/>
                  <a:pt x="5319341" y="1516773"/>
                  <a:pt x="5315532" y="1516773"/>
                </a:cubicBezTo>
                <a:cubicBezTo>
                  <a:pt x="5312674" y="1516773"/>
                  <a:pt x="5305054" y="1510105"/>
                  <a:pt x="5302197" y="1515820"/>
                </a:cubicBezTo>
                <a:cubicBezTo>
                  <a:pt x="5302197" y="1515820"/>
                  <a:pt x="5302197" y="1525345"/>
                  <a:pt x="5295529" y="1524393"/>
                </a:cubicBezTo>
                <a:cubicBezTo>
                  <a:pt x="5288861" y="1523440"/>
                  <a:pt x="5286957" y="1522488"/>
                  <a:pt x="5286957" y="1527250"/>
                </a:cubicBezTo>
                <a:cubicBezTo>
                  <a:pt x="5286957" y="1532013"/>
                  <a:pt x="5286004" y="1529155"/>
                  <a:pt x="5281241" y="1532013"/>
                </a:cubicBezTo>
                <a:cubicBezTo>
                  <a:pt x="5276479" y="1534870"/>
                  <a:pt x="5276479" y="1539633"/>
                  <a:pt x="5277432" y="1544395"/>
                </a:cubicBezTo>
                <a:cubicBezTo>
                  <a:pt x="5279336" y="1548205"/>
                  <a:pt x="5278384" y="1551063"/>
                  <a:pt x="5276479" y="1553920"/>
                </a:cubicBezTo>
                <a:cubicBezTo>
                  <a:pt x="5274574" y="1556778"/>
                  <a:pt x="5275527" y="1560588"/>
                  <a:pt x="5274574" y="1563445"/>
                </a:cubicBezTo>
                <a:cubicBezTo>
                  <a:pt x="5273622" y="1566303"/>
                  <a:pt x="5273622" y="1567255"/>
                  <a:pt x="5273622" y="1567255"/>
                </a:cubicBezTo>
                <a:cubicBezTo>
                  <a:pt x="5273622" y="1569160"/>
                  <a:pt x="5273622" y="1569160"/>
                  <a:pt x="5276479" y="1572018"/>
                </a:cubicBezTo>
                <a:cubicBezTo>
                  <a:pt x="5279336" y="1574875"/>
                  <a:pt x="5276479" y="1577733"/>
                  <a:pt x="5272669" y="1577733"/>
                </a:cubicBezTo>
                <a:cubicBezTo>
                  <a:pt x="5268859" y="1577733"/>
                  <a:pt x="5263144" y="1578685"/>
                  <a:pt x="5264097" y="1582495"/>
                </a:cubicBezTo>
                <a:cubicBezTo>
                  <a:pt x="5265049" y="1586305"/>
                  <a:pt x="5255524" y="1601545"/>
                  <a:pt x="5255524" y="1606308"/>
                </a:cubicBezTo>
                <a:cubicBezTo>
                  <a:pt x="5254572" y="1611070"/>
                  <a:pt x="5246952" y="1617738"/>
                  <a:pt x="5244094" y="1621548"/>
                </a:cubicBezTo>
                <a:cubicBezTo>
                  <a:pt x="5241236" y="1624405"/>
                  <a:pt x="5244094" y="1628215"/>
                  <a:pt x="5241236" y="1631073"/>
                </a:cubicBezTo>
                <a:cubicBezTo>
                  <a:pt x="5238379" y="1633930"/>
                  <a:pt x="5238379" y="1635835"/>
                  <a:pt x="5238379" y="1640598"/>
                </a:cubicBezTo>
                <a:cubicBezTo>
                  <a:pt x="5238379" y="1645360"/>
                  <a:pt x="5236474" y="1649170"/>
                  <a:pt x="5229807" y="1647265"/>
                </a:cubicBezTo>
                <a:cubicBezTo>
                  <a:pt x="5223139" y="1645360"/>
                  <a:pt x="5220282" y="1647265"/>
                  <a:pt x="5219329" y="1650123"/>
                </a:cubicBezTo>
                <a:cubicBezTo>
                  <a:pt x="5218377" y="1652980"/>
                  <a:pt x="5210757" y="1653933"/>
                  <a:pt x="5208852" y="1654885"/>
                </a:cubicBezTo>
                <a:cubicBezTo>
                  <a:pt x="5205994" y="1655838"/>
                  <a:pt x="5202184" y="1663458"/>
                  <a:pt x="5204089" y="1666315"/>
                </a:cubicBezTo>
                <a:cubicBezTo>
                  <a:pt x="5207899" y="1672983"/>
                  <a:pt x="5195516" y="1672030"/>
                  <a:pt x="5195516" y="1672030"/>
                </a:cubicBezTo>
                <a:cubicBezTo>
                  <a:pt x="5195516" y="1672030"/>
                  <a:pt x="5190754" y="1679650"/>
                  <a:pt x="5187897" y="1681555"/>
                </a:cubicBezTo>
                <a:cubicBezTo>
                  <a:pt x="5185039" y="1683460"/>
                  <a:pt x="5184086" y="1690128"/>
                  <a:pt x="5175514" y="1691080"/>
                </a:cubicBezTo>
                <a:cubicBezTo>
                  <a:pt x="5166941" y="1692033"/>
                  <a:pt x="5162179" y="1697748"/>
                  <a:pt x="5161227" y="1698700"/>
                </a:cubicBezTo>
                <a:cubicBezTo>
                  <a:pt x="5159322" y="1699653"/>
                  <a:pt x="5152654" y="1704415"/>
                  <a:pt x="5149797" y="1705368"/>
                </a:cubicBezTo>
                <a:cubicBezTo>
                  <a:pt x="5147891" y="1706320"/>
                  <a:pt x="5145986" y="1712035"/>
                  <a:pt x="5145034" y="1713940"/>
                </a:cubicBezTo>
                <a:cubicBezTo>
                  <a:pt x="5144082" y="1715845"/>
                  <a:pt x="5139319" y="1720608"/>
                  <a:pt x="5139319" y="1720608"/>
                </a:cubicBezTo>
                <a:cubicBezTo>
                  <a:pt x="5139319" y="1720608"/>
                  <a:pt x="5131699" y="1723465"/>
                  <a:pt x="5127889" y="1727275"/>
                </a:cubicBezTo>
                <a:cubicBezTo>
                  <a:pt x="5125032" y="1731085"/>
                  <a:pt x="5119316" y="1732990"/>
                  <a:pt x="5119316" y="1736800"/>
                </a:cubicBezTo>
                <a:cubicBezTo>
                  <a:pt x="5118364" y="1740610"/>
                  <a:pt x="5118364" y="1746325"/>
                  <a:pt x="5113602" y="1749183"/>
                </a:cubicBezTo>
                <a:cubicBezTo>
                  <a:pt x="5108839" y="1752040"/>
                  <a:pt x="5103124" y="1764423"/>
                  <a:pt x="5098361" y="1766328"/>
                </a:cubicBezTo>
                <a:cubicBezTo>
                  <a:pt x="5094552" y="1769185"/>
                  <a:pt x="5087884" y="1774900"/>
                  <a:pt x="5087884" y="1778710"/>
                </a:cubicBezTo>
                <a:cubicBezTo>
                  <a:pt x="5085027" y="1782520"/>
                  <a:pt x="5077407" y="1796808"/>
                  <a:pt x="5074549" y="1804428"/>
                </a:cubicBezTo>
                <a:cubicBezTo>
                  <a:pt x="5070739" y="1815858"/>
                  <a:pt x="5052641" y="1819668"/>
                  <a:pt x="5038354" y="1821573"/>
                </a:cubicBezTo>
                <a:cubicBezTo>
                  <a:pt x="5024066" y="1822525"/>
                  <a:pt x="5002159" y="1830145"/>
                  <a:pt x="4985966" y="1838718"/>
                </a:cubicBezTo>
                <a:cubicBezTo>
                  <a:pt x="4968822" y="1847290"/>
                  <a:pt x="4948819" y="1858720"/>
                  <a:pt x="4936436" y="1873960"/>
                </a:cubicBezTo>
                <a:cubicBezTo>
                  <a:pt x="4925007" y="1888248"/>
                  <a:pt x="4917386" y="1891105"/>
                  <a:pt x="4904052" y="1898725"/>
                </a:cubicBezTo>
                <a:cubicBezTo>
                  <a:pt x="4891669" y="1906345"/>
                  <a:pt x="4881191" y="1927300"/>
                  <a:pt x="4873572" y="1944445"/>
                </a:cubicBezTo>
                <a:cubicBezTo>
                  <a:pt x="4865952" y="1961590"/>
                  <a:pt x="4860237" y="1972068"/>
                  <a:pt x="4847854" y="1964448"/>
                </a:cubicBezTo>
                <a:cubicBezTo>
                  <a:pt x="4836424" y="1957780"/>
                  <a:pt x="4827852" y="1967305"/>
                  <a:pt x="4826899" y="1974925"/>
                </a:cubicBezTo>
                <a:cubicBezTo>
                  <a:pt x="4826899" y="1983498"/>
                  <a:pt x="4826899" y="1987308"/>
                  <a:pt x="4814516" y="1992070"/>
                </a:cubicBezTo>
                <a:cubicBezTo>
                  <a:pt x="4802134" y="1996833"/>
                  <a:pt x="4797372" y="1995880"/>
                  <a:pt x="4788799" y="2003500"/>
                </a:cubicBezTo>
                <a:cubicBezTo>
                  <a:pt x="4780227" y="2012073"/>
                  <a:pt x="4780227" y="2003500"/>
                  <a:pt x="4779274" y="1992070"/>
                </a:cubicBezTo>
                <a:cubicBezTo>
                  <a:pt x="4778322" y="1979688"/>
                  <a:pt x="4784989" y="1978735"/>
                  <a:pt x="4802134" y="1972068"/>
                </a:cubicBezTo>
                <a:cubicBezTo>
                  <a:pt x="4819279" y="1964448"/>
                  <a:pt x="4819279" y="1961590"/>
                  <a:pt x="4826899" y="1950160"/>
                </a:cubicBezTo>
                <a:cubicBezTo>
                  <a:pt x="4834519" y="1938730"/>
                  <a:pt x="4829756" y="1928253"/>
                  <a:pt x="4831662" y="1918728"/>
                </a:cubicBezTo>
                <a:cubicBezTo>
                  <a:pt x="4833566" y="1909203"/>
                  <a:pt x="4822137" y="1913013"/>
                  <a:pt x="4802134" y="1917775"/>
                </a:cubicBezTo>
                <a:cubicBezTo>
                  <a:pt x="4782131" y="1921585"/>
                  <a:pt x="4783084" y="1906345"/>
                  <a:pt x="4783084" y="1897773"/>
                </a:cubicBezTo>
                <a:cubicBezTo>
                  <a:pt x="4783084" y="1888248"/>
                  <a:pt x="4785941" y="1888248"/>
                  <a:pt x="4798324" y="1882533"/>
                </a:cubicBezTo>
                <a:cubicBezTo>
                  <a:pt x="4810706" y="1877770"/>
                  <a:pt x="4804991" y="1871103"/>
                  <a:pt x="4802134" y="1860625"/>
                </a:cubicBezTo>
                <a:cubicBezTo>
                  <a:pt x="4799277" y="1850148"/>
                  <a:pt x="4804991" y="1852053"/>
                  <a:pt x="4817374" y="1842528"/>
                </a:cubicBezTo>
                <a:cubicBezTo>
                  <a:pt x="4829756" y="1833003"/>
                  <a:pt x="4829756" y="1835860"/>
                  <a:pt x="4838329" y="1822525"/>
                </a:cubicBezTo>
                <a:cubicBezTo>
                  <a:pt x="4846902" y="1809190"/>
                  <a:pt x="4861189" y="1780615"/>
                  <a:pt x="4866904" y="1764423"/>
                </a:cubicBezTo>
                <a:cubicBezTo>
                  <a:pt x="4873572" y="1748230"/>
                  <a:pt x="4860237" y="1745373"/>
                  <a:pt x="4846902" y="1728228"/>
                </a:cubicBezTo>
                <a:cubicBezTo>
                  <a:pt x="4833566" y="1711083"/>
                  <a:pt x="4836424" y="1718703"/>
                  <a:pt x="4832614" y="1705368"/>
                </a:cubicBezTo>
                <a:cubicBezTo>
                  <a:pt x="4828804" y="1692033"/>
                  <a:pt x="4825947" y="1688223"/>
                  <a:pt x="4817374" y="1686318"/>
                </a:cubicBezTo>
                <a:cubicBezTo>
                  <a:pt x="4808802" y="1684413"/>
                  <a:pt x="4807849" y="1691080"/>
                  <a:pt x="4806897" y="1702510"/>
                </a:cubicBezTo>
                <a:cubicBezTo>
                  <a:pt x="4806897" y="1713940"/>
                  <a:pt x="4787847" y="1712035"/>
                  <a:pt x="4770702" y="1708225"/>
                </a:cubicBezTo>
                <a:cubicBezTo>
                  <a:pt x="4753556" y="1705368"/>
                  <a:pt x="4730697" y="1731085"/>
                  <a:pt x="4726887" y="1737753"/>
                </a:cubicBezTo>
                <a:cubicBezTo>
                  <a:pt x="4723077" y="1744420"/>
                  <a:pt x="4723077" y="1752040"/>
                  <a:pt x="4713552" y="1765375"/>
                </a:cubicBezTo>
                <a:cubicBezTo>
                  <a:pt x="4704027" y="1778710"/>
                  <a:pt x="4702122" y="1782520"/>
                  <a:pt x="4695454" y="1797760"/>
                </a:cubicBezTo>
                <a:cubicBezTo>
                  <a:pt x="4688787" y="1813953"/>
                  <a:pt x="4684024" y="1816810"/>
                  <a:pt x="4666879" y="1827288"/>
                </a:cubicBezTo>
                <a:cubicBezTo>
                  <a:pt x="4648781" y="1837765"/>
                  <a:pt x="4627827" y="1855863"/>
                  <a:pt x="4611634" y="1864435"/>
                </a:cubicBezTo>
                <a:cubicBezTo>
                  <a:pt x="4596394" y="1873960"/>
                  <a:pt x="4584012" y="1901583"/>
                  <a:pt x="4581154" y="1921585"/>
                </a:cubicBezTo>
                <a:cubicBezTo>
                  <a:pt x="4577344" y="1941588"/>
                  <a:pt x="4572581" y="1951113"/>
                  <a:pt x="4566866" y="1962543"/>
                </a:cubicBezTo>
                <a:cubicBezTo>
                  <a:pt x="4561152" y="1973020"/>
                  <a:pt x="4546864" y="1977783"/>
                  <a:pt x="4531624" y="1976830"/>
                </a:cubicBezTo>
                <a:cubicBezTo>
                  <a:pt x="4516384" y="1975878"/>
                  <a:pt x="4512574" y="1977783"/>
                  <a:pt x="4503049" y="1987308"/>
                </a:cubicBezTo>
                <a:cubicBezTo>
                  <a:pt x="4492572" y="1996833"/>
                  <a:pt x="4483047" y="1990165"/>
                  <a:pt x="4476379" y="1979688"/>
                </a:cubicBezTo>
                <a:cubicBezTo>
                  <a:pt x="4469712" y="1969210"/>
                  <a:pt x="4457329" y="1971115"/>
                  <a:pt x="4448756" y="1974925"/>
                </a:cubicBezTo>
                <a:cubicBezTo>
                  <a:pt x="4440184" y="1978735"/>
                  <a:pt x="4430659" y="1986355"/>
                  <a:pt x="4430659" y="2001595"/>
                </a:cubicBezTo>
                <a:cubicBezTo>
                  <a:pt x="4430659" y="2015883"/>
                  <a:pt x="4426849" y="2021598"/>
                  <a:pt x="4420181" y="2032075"/>
                </a:cubicBezTo>
                <a:cubicBezTo>
                  <a:pt x="4413514" y="2041600"/>
                  <a:pt x="4411609" y="2061603"/>
                  <a:pt x="4422087" y="2069223"/>
                </a:cubicBezTo>
                <a:cubicBezTo>
                  <a:pt x="4432564" y="2077795"/>
                  <a:pt x="4434469" y="2090178"/>
                  <a:pt x="4446852" y="2104465"/>
                </a:cubicBezTo>
                <a:cubicBezTo>
                  <a:pt x="4459234" y="2117801"/>
                  <a:pt x="4469712" y="2128278"/>
                  <a:pt x="4474474" y="2138756"/>
                </a:cubicBezTo>
                <a:cubicBezTo>
                  <a:pt x="4479237" y="2149233"/>
                  <a:pt x="4485904" y="2139708"/>
                  <a:pt x="4489714" y="2130183"/>
                </a:cubicBezTo>
                <a:cubicBezTo>
                  <a:pt x="4493524" y="2120658"/>
                  <a:pt x="4501144" y="2127326"/>
                  <a:pt x="4514479" y="2132088"/>
                </a:cubicBezTo>
                <a:cubicBezTo>
                  <a:pt x="4527814" y="2136851"/>
                  <a:pt x="4536387" y="2122563"/>
                  <a:pt x="4541149" y="2114943"/>
                </a:cubicBezTo>
                <a:cubicBezTo>
                  <a:pt x="4545912" y="2106371"/>
                  <a:pt x="4556389" y="2111133"/>
                  <a:pt x="4565914" y="2120658"/>
                </a:cubicBezTo>
                <a:cubicBezTo>
                  <a:pt x="4575439" y="2130183"/>
                  <a:pt x="4578297" y="2137803"/>
                  <a:pt x="4584012" y="2148281"/>
                </a:cubicBezTo>
                <a:cubicBezTo>
                  <a:pt x="4589727" y="2158758"/>
                  <a:pt x="4590679" y="2167331"/>
                  <a:pt x="4579249" y="2176856"/>
                </a:cubicBezTo>
                <a:cubicBezTo>
                  <a:pt x="4568772" y="2187333"/>
                  <a:pt x="4572581" y="2197810"/>
                  <a:pt x="4573534" y="2213051"/>
                </a:cubicBezTo>
                <a:cubicBezTo>
                  <a:pt x="4574487" y="2228290"/>
                  <a:pt x="4578297" y="2234006"/>
                  <a:pt x="4594489" y="2240673"/>
                </a:cubicBezTo>
                <a:cubicBezTo>
                  <a:pt x="4610681" y="2247340"/>
                  <a:pt x="4621159" y="2247340"/>
                  <a:pt x="4630684" y="2245435"/>
                </a:cubicBezTo>
                <a:cubicBezTo>
                  <a:pt x="4640209" y="2243531"/>
                  <a:pt x="4640209" y="2241626"/>
                  <a:pt x="4653544" y="2241626"/>
                </a:cubicBezTo>
                <a:cubicBezTo>
                  <a:pt x="4666879" y="2241626"/>
                  <a:pt x="4662116" y="2243531"/>
                  <a:pt x="4667831" y="2237815"/>
                </a:cubicBezTo>
                <a:cubicBezTo>
                  <a:pt x="4673547" y="2232101"/>
                  <a:pt x="4676404" y="2221623"/>
                  <a:pt x="4674499" y="2213051"/>
                </a:cubicBezTo>
                <a:cubicBezTo>
                  <a:pt x="4672594" y="2204478"/>
                  <a:pt x="4675452" y="2204478"/>
                  <a:pt x="4684977" y="2201621"/>
                </a:cubicBezTo>
                <a:cubicBezTo>
                  <a:pt x="4694502" y="2197810"/>
                  <a:pt x="4694502" y="2196858"/>
                  <a:pt x="4703074" y="2189238"/>
                </a:cubicBezTo>
                <a:cubicBezTo>
                  <a:pt x="4711647" y="2181618"/>
                  <a:pt x="4720219" y="2167331"/>
                  <a:pt x="4729744" y="2153996"/>
                </a:cubicBezTo>
                <a:cubicBezTo>
                  <a:pt x="4739269" y="2140660"/>
                  <a:pt x="4750699" y="2138756"/>
                  <a:pt x="4764034" y="2135898"/>
                </a:cubicBezTo>
                <a:cubicBezTo>
                  <a:pt x="4777369" y="2133040"/>
                  <a:pt x="4781179" y="2138756"/>
                  <a:pt x="4790704" y="2150185"/>
                </a:cubicBezTo>
                <a:cubicBezTo>
                  <a:pt x="4800229" y="2161615"/>
                  <a:pt x="4814516" y="2166378"/>
                  <a:pt x="4824041" y="2160663"/>
                </a:cubicBezTo>
                <a:cubicBezTo>
                  <a:pt x="4833566" y="2154948"/>
                  <a:pt x="4833566" y="2161615"/>
                  <a:pt x="4836424" y="2170188"/>
                </a:cubicBezTo>
                <a:cubicBezTo>
                  <a:pt x="4840234" y="2179713"/>
                  <a:pt x="4845949" y="2178760"/>
                  <a:pt x="4860237" y="2176856"/>
                </a:cubicBezTo>
                <a:cubicBezTo>
                  <a:pt x="4874524" y="2174951"/>
                  <a:pt x="4885954" y="2170188"/>
                  <a:pt x="4891669" y="2161615"/>
                </a:cubicBezTo>
                <a:cubicBezTo>
                  <a:pt x="4898336" y="2152090"/>
                  <a:pt x="4905957" y="2155901"/>
                  <a:pt x="4914529" y="2165426"/>
                </a:cubicBezTo>
                <a:cubicBezTo>
                  <a:pt x="4923102" y="2174951"/>
                  <a:pt x="4924054" y="2173998"/>
                  <a:pt x="4932627" y="2174951"/>
                </a:cubicBezTo>
                <a:cubicBezTo>
                  <a:pt x="4941199" y="2175903"/>
                  <a:pt x="4951677" y="2171140"/>
                  <a:pt x="4961202" y="2167331"/>
                </a:cubicBezTo>
                <a:cubicBezTo>
                  <a:pt x="4970727" y="2163521"/>
                  <a:pt x="4970727" y="2173998"/>
                  <a:pt x="4965011" y="2176856"/>
                </a:cubicBezTo>
                <a:cubicBezTo>
                  <a:pt x="4960249" y="2179713"/>
                  <a:pt x="4954534" y="2184476"/>
                  <a:pt x="4956439" y="2190190"/>
                </a:cubicBezTo>
                <a:cubicBezTo>
                  <a:pt x="4959297" y="2195906"/>
                  <a:pt x="4962154" y="2202573"/>
                  <a:pt x="4951677" y="2210193"/>
                </a:cubicBezTo>
                <a:cubicBezTo>
                  <a:pt x="4941199" y="2217813"/>
                  <a:pt x="4947866" y="2228290"/>
                  <a:pt x="4955486" y="2233053"/>
                </a:cubicBezTo>
                <a:cubicBezTo>
                  <a:pt x="4964059" y="2238768"/>
                  <a:pt x="4959297" y="2242578"/>
                  <a:pt x="4950724" y="2248293"/>
                </a:cubicBezTo>
                <a:cubicBezTo>
                  <a:pt x="4941199" y="2254008"/>
                  <a:pt x="4932627" y="2254960"/>
                  <a:pt x="4925959" y="2252103"/>
                </a:cubicBezTo>
                <a:cubicBezTo>
                  <a:pt x="4919291" y="2249246"/>
                  <a:pt x="4912624" y="2243531"/>
                  <a:pt x="4900241" y="2243531"/>
                </a:cubicBezTo>
                <a:cubicBezTo>
                  <a:pt x="4887859" y="2243531"/>
                  <a:pt x="4881191" y="2252103"/>
                  <a:pt x="4872619" y="2262581"/>
                </a:cubicBezTo>
                <a:cubicBezTo>
                  <a:pt x="4863094" y="2273058"/>
                  <a:pt x="4838329" y="2280678"/>
                  <a:pt x="4824994" y="2286393"/>
                </a:cubicBezTo>
                <a:cubicBezTo>
                  <a:pt x="4811659" y="2292108"/>
                  <a:pt x="4803087" y="2305443"/>
                  <a:pt x="4799277" y="2319731"/>
                </a:cubicBezTo>
                <a:cubicBezTo>
                  <a:pt x="4796419" y="2334018"/>
                  <a:pt x="4792609" y="2331160"/>
                  <a:pt x="4787847" y="2324493"/>
                </a:cubicBezTo>
                <a:cubicBezTo>
                  <a:pt x="4782131" y="2316873"/>
                  <a:pt x="4773559" y="2322588"/>
                  <a:pt x="4774512" y="2332113"/>
                </a:cubicBezTo>
                <a:cubicBezTo>
                  <a:pt x="4775464" y="2341638"/>
                  <a:pt x="4775464" y="2345448"/>
                  <a:pt x="4779274" y="2357831"/>
                </a:cubicBezTo>
                <a:cubicBezTo>
                  <a:pt x="4783084" y="2369260"/>
                  <a:pt x="4784989" y="2372118"/>
                  <a:pt x="4770702" y="2372118"/>
                </a:cubicBezTo>
                <a:cubicBezTo>
                  <a:pt x="4757366" y="2372118"/>
                  <a:pt x="4757366" y="2374976"/>
                  <a:pt x="4744031" y="2381643"/>
                </a:cubicBezTo>
                <a:cubicBezTo>
                  <a:pt x="4730697" y="2388310"/>
                  <a:pt x="4733554" y="2378785"/>
                  <a:pt x="4738316" y="2365451"/>
                </a:cubicBezTo>
                <a:cubicBezTo>
                  <a:pt x="4743079" y="2352115"/>
                  <a:pt x="4724029" y="2352115"/>
                  <a:pt x="4716409" y="2360688"/>
                </a:cubicBezTo>
                <a:cubicBezTo>
                  <a:pt x="4708789" y="2370213"/>
                  <a:pt x="4708789" y="2374023"/>
                  <a:pt x="4718314" y="2383548"/>
                </a:cubicBezTo>
                <a:cubicBezTo>
                  <a:pt x="4727839" y="2393073"/>
                  <a:pt x="4726887" y="2399740"/>
                  <a:pt x="4719266" y="2406408"/>
                </a:cubicBezTo>
                <a:cubicBezTo>
                  <a:pt x="4712599" y="2413076"/>
                  <a:pt x="4711647" y="2415933"/>
                  <a:pt x="4703074" y="2434031"/>
                </a:cubicBezTo>
                <a:cubicBezTo>
                  <a:pt x="4694502" y="2452128"/>
                  <a:pt x="4691644" y="2449271"/>
                  <a:pt x="4677356" y="2464511"/>
                </a:cubicBezTo>
                <a:cubicBezTo>
                  <a:pt x="4663069" y="2479750"/>
                  <a:pt x="4653544" y="2502611"/>
                  <a:pt x="4649734" y="2515946"/>
                </a:cubicBezTo>
                <a:cubicBezTo>
                  <a:pt x="4645924" y="2529281"/>
                  <a:pt x="4645924" y="2524518"/>
                  <a:pt x="4638304" y="2531186"/>
                </a:cubicBezTo>
                <a:cubicBezTo>
                  <a:pt x="4630684" y="2537853"/>
                  <a:pt x="4628779" y="2556903"/>
                  <a:pt x="4641162" y="2567381"/>
                </a:cubicBezTo>
                <a:cubicBezTo>
                  <a:pt x="4653544" y="2577858"/>
                  <a:pt x="4664022" y="2580715"/>
                  <a:pt x="4682119" y="2588336"/>
                </a:cubicBezTo>
                <a:cubicBezTo>
                  <a:pt x="4699264" y="2595956"/>
                  <a:pt x="4711647" y="2600718"/>
                  <a:pt x="4732602" y="2607386"/>
                </a:cubicBezTo>
                <a:cubicBezTo>
                  <a:pt x="4753556" y="2614053"/>
                  <a:pt x="4763081" y="2623578"/>
                  <a:pt x="4766891" y="2635008"/>
                </a:cubicBezTo>
                <a:cubicBezTo>
                  <a:pt x="4770702" y="2646438"/>
                  <a:pt x="4768797" y="2647390"/>
                  <a:pt x="4782131" y="2669298"/>
                </a:cubicBezTo>
                <a:cubicBezTo>
                  <a:pt x="4795466" y="2691206"/>
                  <a:pt x="4805944" y="2723590"/>
                  <a:pt x="4811659" y="2743593"/>
                </a:cubicBezTo>
                <a:cubicBezTo>
                  <a:pt x="4817374" y="2762643"/>
                  <a:pt x="4830709" y="2774073"/>
                  <a:pt x="4840234" y="2785503"/>
                </a:cubicBezTo>
                <a:cubicBezTo>
                  <a:pt x="4849759" y="2797886"/>
                  <a:pt x="4848806" y="2811221"/>
                  <a:pt x="4848806" y="2822650"/>
                </a:cubicBezTo>
                <a:cubicBezTo>
                  <a:pt x="4848806" y="2834081"/>
                  <a:pt x="4848806" y="2842653"/>
                  <a:pt x="4858331" y="2848368"/>
                </a:cubicBezTo>
                <a:cubicBezTo>
                  <a:pt x="4867856" y="2854083"/>
                  <a:pt x="4870714" y="2854083"/>
                  <a:pt x="4888811" y="2859798"/>
                </a:cubicBezTo>
                <a:cubicBezTo>
                  <a:pt x="4907861" y="2864561"/>
                  <a:pt x="4909766" y="2873133"/>
                  <a:pt x="4911672" y="2879800"/>
                </a:cubicBezTo>
                <a:cubicBezTo>
                  <a:pt x="4912624" y="2886468"/>
                  <a:pt x="4910719" y="2892183"/>
                  <a:pt x="4918339" y="2898850"/>
                </a:cubicBezTo>
                <a:cubicBezTo>
                  <a:pt x="4926911" y="2905518"/>
                  <a:pt x="4932627" y="2904565"/>
                  <a:pt x="4951677" y="2912186"/>
                </a:cubicBezTo>
                <a:cubicBezTo>
                  <a:pt x="4970727" y="2919806"/>
                  <a:pt x="4978347" y="2943618"/>
                  <a:pt x="4978347" y="2954096"/>
                </a:cubicBezTo>
                <a:cubicBezTo>
                  <a:pt x="4978347" y="2964573"/>
                  <a:pt x="4972632" y="2961715"/>
                  <a:pt x="4960249" y="2957906"/>
                </a:cubicBezTo>
                <a:lnTo>
                  <a:pt x="4949368" y="2953442"/>
                </a:lnTo>
                <a:lnTo>
                  <a:pt x="4962153" y="2961715"/>
                </a:lnTo>
                <a:cubicBezTo>
                  <a:pt x="4971678" y="2967430"/>
                  <a:pt x="4990728" y="2973145"/>
                  <a:pt x="4998348" y="2976002"/>
                </a:cubicBezTo>
                <a:cubicBezTo>
                  <a:pt x="5005969" y="2978860"/>
                  <a:pt x="5002158" y="2985527"/>
                  <a:pt x="4996444" y="2988385"/>
                </a:cubicBezTo>
                <a:cubicBezTo>
                  <a:pt x="4991681" y="2990290"/>
                  <a:pt x="4982156" y="2988385"/>
                  <a:pt x="4972631" y="2983622"/>
                </a:cubicBezTo>
                <a:cubicBezTo>
                  <a:pt x="4962153" y="2978860"/>
                  <a:pt x="4962153" y="2976955"/>
                  <a:pt x="4950723" y="2974097"/>
                </a:cubicBezTo>
                <a:cubicBezTo>
                  <a:pt x="4939294" y="2972192"/>
                  <a:pt x="4934531" y="2967430"/>
                  <a:pt x="4934531" y="2967430"/>
                </a:cubicBezTo>
                <a:cubicBezTo>
                  <a:pt x="4934531" y="2967430"/>
                  <a:pt x="4926911" y="2963620"/>
                  <a:pt x="4923101" y="2958857"/>
                </a:cubicBezTo>
                <a:cubicBezTo>
                  <a:pt x="4919291" y="2955047"/>
                  <a:pt x="4922148" y="2952190"/>
                  <a:pt x="4930721" y="2949332"/>
                </a:cubicBezTo>
                <a:lnTo>
                  <a:pt x="4943133" y="2950884"/>
                </a:lnTo>
                <a:lnTo>
                  <a:pt x="4923102" y="2942665"/>
                </a:lnTo>
                <a:cubicBezTo>
                  <a:pt x="4913577" y="2937903"/>
                  <a:pt x="4901194" y="2940761"/>
                  <a:pt x="4895479" y="2944571"/>
                </a:cubicBezTo>
                <a:cubicBezTo>
                  <a:pt x="4889764" y="2949333"/>
                  <a:pt x="4881191" y="2951238"/>
                  <a:pt x="4875477" y="2947428"/>
                </a:cubicBezTo>
                <a:cubicBezTo>
                  <a:pt x="4869762" y="2943618"/>
                  <a:pt x="4867856" y="2939808"/>
                  <a:pt x="4855474" y="2930283"/>
                </a:cubicBezTo>
                <a:cubicBezTo>
                  <a:pt x="4844044" y="2919806"/>
                  <a:pt x="4822137" y="2916948"/>
                  <a:pt x="4813564" y="2922663"/>
                </a:cubicBezTo>
                <a:cubicBezTo>
                  <a:pt x="4804991" y="2928378"/>
                  <a:pt x="4799277" y="2932188"/>
                  <a:pt x="4799277" y="2938856"/>
                </a:cubicBezTo>
                <a:cubicBezTo>
                  <a:pt x="4799277" y="2945523"/>
                  <a:pt x="4806897" y="2943618"/>
                  <a:pt x="4814516" y="2937903"/>
                </a:cubicBezTo>
                <a:cubicBezTo>
                  <a:pt x="4822137" y="2933140"/>
                  <a:pt x="4833566" y="2930283"/>
                  <a:pt x="4841187" y="2933140"/>
                </a:cubicBezTo>
                <a:cubicBezTo>
                  <a:pt x="4849759" y="2935998"/>
                  <a:pt x="4852616" y="2948381"/>
                  <a:pt x="4855474" y="2954096"/>
                </a:cubicBezTo>
                <a:cubicBezTo>
                  <a:pt x="4858331" y="2960763"/>
                  <a:pt x="4861189" y="2958858"/>
                  <a:pt x="4878334" y="2960763"/>
                </a:cubicBezTo>
                <a:cubicBezTo>
                  <a:pt x="4895479" y="2962668"/>
                  <a:pt x="4908814" y="2980765"/>
                  <a:pt x="4914529" y="2989338"/>
                </a:cubicBezTo>
                <a:cubicBezTo>
                  <a:pt x="4920244" y="2997911"/>
                  <a:pt x="4928816" y="2999815"/>
                  <a:pt x="4941199" y="3003625"/>
                </a:cubicBezTo>
                <a:cubicBezTo>
                  <a:pt x="4953582" y="3008388"/>
                  <a:pt x="4959297" y="3013150"/>
                  <a:pt x="4970727" y="3023628"/>
                </a:cubicBezTo>
                <a:cubicBezTo>
                  <a:pt x="4982157" y="3034106"/>
                  <a:pt x="4991682" y="3051250"/>
                  <a:pt x="4991682" y="3060775"/>
                </a:cubicBezTo>
                <a:cubicBezTo>
                  <a:pt x="4991682" y="3069348"/>
                  <a:pt x="4979299" y="3073158"/>
                  <a:pt x="4965011" y="3074111"/>
                </a:cubicBezTo>
                <a:cubicBezTo>
                  <a:pt x="4950724" y="3074111"/>
                  <a:pt x="4947866" y="3079825"/>
                  <a:pt x="4937389" y="3092208"/>
                </a:cubicBezTo>
                <a:cubicBezTo>
                  <a:pt x="4926911" y="3104590"/>
                  <a:pt x="4926911" y="3099828"/>
                  <a:pt x="4910719" y="3110306"/>
                </a:cubicBezTo>
                <a:cubicBezTo>
                  <a:pt x="4895479" y="3120783"/>
                  <a:pt x="4892622" y="3123640"/>
                  <a:pt x="4890716" y="3136023"/>
                </a:cubicBezTo>
                <a:cubicBezTo>
                  <a:pt x="4888811" y="3147453"/>
                  <a:pt x="4888811" y="3145548"/>
                  <a:pt x="4882144" y="3149358"/>
                </a:cubicBezTo>
                <a:cubicBezTo>
                  <a:pt x="4875477" y="3153168"/>
                  <a:pt x="4871666" y="3156025"/>
                  <a:pt x="4864047" y="3151263"/>
                </a:cubicBezTo>
                <a:cubicBezTo>
                  <a:pt x="4856427" y="3146500"/>
                  <a:pt x="4844997" y="3146500"/>
                  <a:pt x="4833566" y="3154121"/>
                </a:cubicBezTo>
                <a:cubicBezTo>
                  <a:pt x="4821184" y="3161740"/>
                  <a:pt x="4817374" y="3165550"/>
                  <a:pt x="4819279" y="3170313"/>
                </a:cubicBezTo>
                <a:cubicBezTo>
                  <a:pt x="4821184" y="3176028"/>
                  <a:pt x="4825947" y="3171265"/>
                  <a:pt x="4834519" y="3163646"/>
                </a:cubicBezTo>
                <a:cubicBezTo>
                  <a:pt x="4843091" y="3156025"/>
                  <a:pt x="4844044" y="3157931"/>
                  <a:pt x="4849759" y="3158883"/>
                </a:cubicBezTo>
                <a:cubicBezTo>
                  <a:pt x="4855474" y="3159836"/>
                  <a:pt x="4856427" y="3172218"/>
                  <a:pt x="4861189" y="3180790"/>
                </a:cubicBezTo>
                <a:cubicBezTo>
                  <a:pt x="4865952" y="3188411"/>
                  <a:pt x="4871666" y="3185553"/>
                  <a:pt x="4880239" y="3182696"/>
                </a:cubicBezTo>
                <a:cubicBezTo>
                  <a:pt x="4888811" y="3180790"/>
                  <a:pt x="4895479" y="3172218"/>
                  <a:pt x="4903099" y="3163646"/>
                </a:cubicBezTo>
                <a:cubicBezTo>
                  <a:pt x="4910719" y="3155073"/>
                  <a:pt x="4921197" y="3149358"/>
                  <a:pt x="4935484" y="3152215"/>
                </a:cubicBezTo>
                <a:cubicBezTo>
                  <a:pt x="4949772" y="3154121"/>
                  <a:pt x="4955486" y="3163646"/>
                  <a:pt x="4967869" y="3179838"/>
                </a:cubicBezTo>
                <a:cubicBezTo>
                  <a:pt x="4980252" y="3196031"/>
                  <a:pt x="5004064" y="3196031"/>
                  <a:pt x="5007874" y="3196031"/>
                </a:cubicBezTo>
                <a:cubicBezTo>
                  <a:pt x="5012636" y="3196031"/>
                  <a:pt x="5027877" y="3195078"/>
                  <a:pt x="5032639" y="3196983"/>
                </a:cubicBezTo>
                <a:cubicBezTo>
                  <a:pt x="5037402" y="3197936"/>
                  <a:pt x="5029782" y="3207461"/>
                  <a:pt x="5018352" y="3212223"/>
                </a:cubicBezTo>
                <a:cubicBezTo>
                  <a:pt x="5007874" y="3216986"/>
                  <a:pt x="5005016" y="3222700"/>
                  <a:pt x="4996444" y="3237940"/>
                </a:cubicBezTo>
                <a:cubicBezTo>
                  <a:pt x="4987872" y="3253181"/>
                  <a:pt x="4981204" y="3248418"/>
                  <a:pt x="4970727" y="3252228"/>
                </a:cubicBezTo>
                <a:cubicBezTo>
                  <a:pt x="4960249" y="3256038"/>
                  <a:pt x="4962154" y="3258896"/>
                  <a:pt x="4961202" y="3264611"/>
                </a:cubicBezTo>
                <a:cubicBezTo>
                  <a:pt x="4960249" y="3270325"/>
                  <a:pt x="4964059" y="3269373"/>
                  <a:pt x="4980252" y="3261753"/>
                </a:cubicBezTo>
                <a:cubicBezTo>
                  <a:pt x="4996444" y="3254133"/>
                  <a:pt x="5002159" y="3248418"/>
                  <a:pt x="5005016" y="3243656"/>
                </a:cubicBezTo>
                <a:cubicBezTo>
                  <a:pt x="5007874" y="3238893"/>
                  <a:pt x="5014541" y="3236036"/>
                  <a:pt x="5019304" y="3237940"/>
                </a:cubicBezTo>
                <a:cubicBezTo>
                  <a:pt x="5024066" y="3239846"/>
                  <a:pt x="5024066" y="3245561"/>
                  <a:pt x="5024066" y="3257943"/>
                </a:cubicBezTo>
                <a:cubicBezTo>
                  <a:pt x="5024066" y="3270325"/>
                  <a:pt x="5026924" y="3278898"/>
                  <a:pt x="5026924" y="3286518"/>
                </a:cubicBezTo>
                <a:cubicBezTo>
                  <a:pt x="5026924" y="3294138"/>
                  <a:pt x="5012636" y="3294138"/>
                  <a:pt x="5005016" y="3296996"/>
                </a:cubicBezTo>
                <a:cubicBezTo>
                  <a:pt x="4997397" y="3299853"/>
                  <a:pt x="4988824" y="3298900"/>
                  <a:pt x="4985966" y="3293186"/>
                </a:cubicBezTo>
                <a:cubicBezTo>
                  <a:pt x="4984061" y="3287471"/>
                  <a:pt x="4983109" y="3281756"/>
                  <a:pt x="4978347" y="3287471"/>
                </a:cubicBezTo>
                <a:cubicBezTo>
                  <a:pt x="4973584" y="3293186"/>
                  <a:pt x="4972632" y="3295090"/>
                  <a:pt x="4970727" y="3302711"/>
                </a:cubicBezTo>
                <a:cubicBezTo>
                  <a:pt x="4968822" y="3309378"/>
                  <a:pt x="4973584" y="3311283"/>
                  <a:pt x="4981204" y="3311283"/>
                </a:cubicBezTo>
                <a:cubicBezTo>
                  <a:pt x="4988824" y="3311283"/>
                  <a:pt x="4994539" y="3316046"/>
                  <a:pt x="4996444" y="3321761"/>
                </a:cubicBezTo>
                <a:cubicBezTo>
                  <a:pt x="4998349" y="3327475"/>
                  <a:pt x="5001207" y="3333190"/>
                  <a:pt x="4998349" y="3344621"/>
                </a:cubicBezTo>
                <a:cubicBezTo>
                  <a:pt x="4996444" y="3357003"/>
                  <a:pt x="4996444" y="3358908"/>
                  <a:pt x="4984061" y="3366528"/>
                </a:cubicBezTo>
                <a:cubicBezTo>
                  <a:pt x="4971679" y="3374148"/>
                  <a:pt x="4978347" y="3376053"/>
                  <a:pt x="4983109" y="3384625"/>
                </a:cubicBezTo>
                <a:cubicBezTo>
                  <a:pt x="4987872" y="3393198"/>
                  <a:pt x="4990729" y="3398913"/>
                  <a:pt x="4992634" y="3406533"/>
                </a:cubicBezTo>
                <a:cubicBezTo>
                  <a:pt x="4994539" y="3414153"/>
                  <a:pt x="4993586" y="3419868"/>
                  <a:pt x="4986919" y="3420821"/>
                </a:cubicBezTo>
                <a:cubicBezTo>
                  <a:pt x="4980252" y="3421773"/>
                  <a:pt x="4977394" y="3424631"/>
                  <a:pt x="4974536" y="3434156"/>
                </a:cubicBezTo>
                <a:cubicBezTo>
                  <a:pt x="4971679" y="3444633"/>
                  <a:pt x="4969774" y="3449396"/>
                  <a:pt x="4963107" y="3456063"/>
                </a:cubicBezTo>
                <a:cubicBezTo>
                  <a:pt x="4956439" y="3462731"/>
                  <a:pt x="4947866" y="3461778"/>
                  <a:pt x="4947866" y="3457015"/>
                </a:cubicBezTo>
                <a:cubicBezTo>
                  <a:pt x="4947866" y="3452253"/>
                  <a:pt x="4947866" y="3447490"/>
                  <a:pt x="4953582" y="3438918"/>
                </a:cubicBezTo>
                <a:cubicBezTo>
                  <a:pt x="4959297" y="3431298"/>
                  <a:pt x="4961202" y="3430346"/>
                  <a:pt x="4957391" y="3422725"/>
                </a:cubicBezTo>
                <a:cubicBezTo>
                  <a:pt x="4954534" y="3415106"/>
                  <a:pt x="4947866" y="3417963"/>
                  <a:pt x="4943104" y="3425583"/>
                </a:cubicBezTo>
                <a:cubicBezTo>
                  <a:pt x="4938341" y="3433203"/>
                  <a:pt x="4937389" y="3445586"/>
                  <a:pt x="4930722" y="3463683"/>
                </a:cubicBezTo>
                <a:cubicBezTo>
                  <a:pt x="4924054" y="3481781"/>
                  <a:pt x="4916434" y="3471303"/>
                  <a:pt x="4904052" y="3470350"/>
                </a:cubicBezTo>
                <a:cubicBezTo>
                  <a:pt x="4891669" y="3469398"/>
                  <a:pt x="4897384" y="3478923"/>
                  <a:pt x="4906909" y="3482733"/>
                </a:cubicBezTo>
                <a:cubicBezTo>
                  <a:pt x="4916434" y="3486543"/>
                  <a:pt x="4916434" y="3491306"/>
                  <a:pt x="4912624" y="3496068"/>
                </a:cubicBezTo>
                <a:cubicBezTo>
                  <a:pt x="4908814" y="3500831"/>
                  <a:pt x="4906909" y="3503688"/>
                  <a:pt x="4899289" y="3514165"/>
                </a:cubicBezTo>
                <a:cubicBezTo>
                  <a:pt x="4891669" y="3524643"/>
                  <a:pt x="4891669" y="3538931"/>
                  <a:pt x="4899289" y="3545598"/>
                </a:cubicBezTo>
                <a:cubicBezTo>
                  <a:pt x="4906909" y="3551313"/>
                  <a:pt x="4903099" y="3554171"/>
                  <a:pt x="4899289" y="3562743"/>
                </a:cubicBezTo>
                <a:cubicBezTo>
                  <a:pt x="4895479" y="3571315"/>
                  <a:pt x="4891669" y="3577031"/>
                  <a:pt x="4887859" y="3581793"/>
                </a:cubicBezTo>
                <a:cubicBezTo>
                  <a:pt x="4884049" y="3586556"/>
                  <a:pt x="4877382" y="3585603"/>
                  <a:pt x="4865952" y="3578936"/>
                </a:cubicBezTo>
                <a:cubicBezTo>
                  <a:pt x="4853569" y="3572268"/>
                  <a:pt x="4847854" y="3577983"/>
                  <a:pt x="4849759" y="3585603"/>
                </a:cubicBezTo>
                <a:cubicBezTo>
                  <a:pt x="4851664" y="3593223"/>
                  <a:pt x="4855474" y="3589413"/>
                  <a:pt x="4869762" y="3592271"/>
                </a:cubicBezTo>
                <a:cubicBezTo>
                  <a:pt x="4883097" y="3596081"/>
                  <a:pt x="4873572" y="3603700"/>
                  <a:pt x="4868809" y="3604653"/>
                </a:cubicBezTo>
                <a:cubicBezTo>
                  <a:pt x="4864047" y="3605606"/>
                  <a:pt x="4861189" y="3608463"/>
                  <a:pt x="4862141" y="3617988"/>
                </a:cubicBezTo>
                <a:cubicBezTo>
                  <a:pt x="4862141" y="3627513"/>
                  <a:pt x="4859284" y="3625608"/>
                  <a:pt x="4847854" y="3628465"/>
                </a:cubicBezTo>
                <a:cubicBezTo>
                  <a:pt x="4836424" y="3631323"/>
                  <a:pt x="4839281" y="3638943"/>
                  <a:pt x="4846902" y="3646563"/>
                </a:cubicBezTo>
                <a:cubicBezTo>
                  <a:pt x="4854522" y="3654183"/>
                  <a:pt x="4854522" y="3662756"/>
                  <a:pt x="4848806" y="3669423"/>
                </a:cubicBezTo>
                <a:cubicBezTo>
                  <a:pt x="4842139" y="3676090"/>
                  <a:pt x="4837377" y="3677996"/>
                  <a:pt x="4827852" y="3681806"/>
                </a:cubicBezTo>
                <a:cubicBezTo>
                  <a:pt x="4818327" y="3685615"/>
                  <a:pt x="4824994" y="3673233"/>
                  <a:pt x="4829756" y="3669423"/>
                </a:cubicBezTo>
                <a:cubicBezTo>
                  <a:pt x="4834519" y="3665613"/>
                  <a:pt x="4835472" y="3662756"/>
                  <a:pt x="4836424" y="3654183"/>
                </a:cubicBezTo>
                <a:cubicBezTo>
                  <a:pt x="4836424" y="3646563"/>
                  <a:pt x="4828804" y="3647515"/>
                  <a:pt x="4824994" y="3655136"/>
                </a:cubicBezTo>
                <a:cubicBezTo>
                  <a:pt x="4821184" y="3662756"/>
                  <a:pt x="4813564" y="3654183"/>
                  <a:pt x="4812612" y="3645611"/>
                </a:cubicBezTo>
                <a:cubicBezTo>
                  <a:pt x="4811659" y="3637038"/>
                  <a:pt x="4790704" y="3646563"/>
                  <a:pt x="4787847" y="3653231"/>
                </a:cubicBezTo>
                <a:cubicBezTo>
                  <a:pt x="4784037" y="3659898"/>
                  <a:pt x="4787847" y="3666565"/>
                  <a:pt x="4804039" y="3674186"/>
                </a:cubicBezTo>
                <a:cubicBezTo>
                  <a:pt x="4819279" y="3681806"/>
                  <a:pt x="4817374" y="3695140"/>
                  <a:pt x="4802134" y="3693236"/>
                </a:cubicBezTo>
                <a:cubicBezTo>
                  <a:pt x="4786894" y="3690378"/>
                  <a:pt x="4789752" y="3700856"/>
                  <a:pt x="4797372" y="3704665"/>
                </a:cubicBezTo>
                <a:cubicBezTo>
                  <a:pt x="4804991" y="3708475"/>
                  <a:pt x="4808802" y="3705618"/>
                  <a:pt x="4819279" y="3705618"/>
                </a:cubicBezTo>
                <a:cubicBezTo>
                  <a:pt x="4829756" y="3705618"/>
                  <a:pt x="4837377" y="3706571"/>
                  <a:pt x="4832614" y="3710381"/>
                </a:cubicBezTo>
                <a:cubicBezTo>
                  <a:pt x="4827852" y="3714190"/>
                  <a:pt x="4821184" y="3718000"/>
                  <a:pt x="4817374" y="3718000"/>
                </a:cubicBezTo>
                <a:cubicBezTo>
                  <a:pt x="4813564" y="3718000"/>
                  <a:pt x="4810706" y="3719906"/>
                  <a:pt x="4807849" y="3724668"/>
                </a:cubicBezTo>
                <a:cubicBezTo>
                  <a:pt x="4804039" y="3730383"/>
                  <a:pt x="4804991" y="3730383"/>
                  <a:pt x="4798324" y="3738956"/>
                </a:cubicBezTo>
                <a:cubicBezTo>
                  <a:pt x="4790704" y="3747528"/>
                  <a:pt x="4799277" y="3751338"/>
                  <a:pt x="4811659" y="3753243"/>
                </a:cubicBezTo>
                <a:cubicBezTo>
                  <a:pt x="4824041" y="3755148"/>
                  <a:pt x="4818327" y="3763721"/>
                  <a:pt x="4811659" y="3768483"/>
                </a:cubicBezTo>
                <a:cubicBezTo>
                  <a:pt x="4804991" y="3774198"/>
                  <a:pt x="4799277" y="3777056"/>
                  <a:pt x="4804991" y="3780865"/>
                </a:cubicBezTo>
                <a:cubicBezTo>
                  <a:pt x="4810706" y="3784675"/>
                  <a:pt x="4810706" y="3784675"/>
                  <a:pt x="4808802" y="3794200"/>
                </a:cubicBezTo>
                <a:cubicBezTo>
                  <a:pt x="4806897" y="3803725"/>
                  <a:pt x="4802134" y="3800868"/>
                  <a:pt x="4793562" y="3801821"/>
                </a:cubicBezTo>
                <a:cubicBezTo>
                  <a:pt x="4784037" y="3802773"/>
                  <a:pt x="4792609" y="3810393"/>
                  <a:pt x="4802134" y="3818965"/>
                </a:cubicBezTo>
                <a:cubicBezTo>
                  <a:pt x="4811659" y="3826586"/>
                  <a:pt x="4815469" y="3833253"/>
                  <a:pt x="4815469" y="3838015"/>
                </a:cubicBezTo>
                <a:cubicBezTo>
                  <a:pt x="4815469" y="3842778"/>
                  <a:pt x="4809754" y="3843731"/>
                  <a:pt x="4801181" y="3838968"/>
                </a:cubicBezTo>
                <a:cubicBezTo>
                  <a:pt x="4792609" y="3834206"/>
                  <a:pt x="4786894" y="3826586"/>
                  <a:pt x="4781179" y="3819918"/>
                </a:cubicBezTo>
                <a:cubicBezTo>
                  <a:pt x="4775464" y="3813250"/>
                  <a:pt x="4773559" y="3818013"/>
                  <a:pt x="4773559" y="3829443"/>
                </a:cubicBezTo>
                <a:cubicBezTo>
                  <a:pt x="4774512" y="3840873"/>
                  <a:pt x="4769749" y="3835158"/>
                  <a:pt x="4758319" y="3837063"/>
                </a:cubicBezTo>
                <a:cubicBezTo>
                  <a:pt x="4746889" y="3839921"/>
                  <a:pt x="4752604" y="3847540"/>
                  <a:pt x="4767844" y="3853256"/>
                </a:cubicBezTo>
                <a:cubicBezTo>
                  <a:pt x="4783084" y="3858971"/>
                  <a:pt x="4782131" y="3864686"/>
                  <a:pt x="4775464" y="3868496"/>
                </a:cubicBezTo>
                <a:cubicBezTo>
                  <a:pt x="4768797" y="3872306"/>
                  <a:pt x="4767844" y="3874211"/>
                  <a:pt x="4759272" y="3878973"/>
                </a:cubicBezTo>
                <a:cubicBezTo>
                  <a:pt x="4751652" y="3884688"/>
                  <a:pt x="4744984" y="3882783"/>
                  <a:pt x="4743079" y="3874211"/>
                </a:cubicBezTo>
                <a:cubicBezTo>
                  <a:pt x="4740222" y="3866590"/>
                  <a:pt x="4734506" y="3860875"/>
                  <a:pt x="4730697" y="3864686"/>
                </a:cubicBezTo>
                <a:cubicBezTo>
                  <a:pt x="4726887" y="3868496"/>
                  <a:pt x="4730697" y="3874211"/>
                  <a:pt x="4735459" y="3885640"/>
                </a:cubicBezTo>
                <a:cubicBezTo>
                  <a:pt x="4740222" y="3897071"/>
                  <a:pt x="4742127" y="3905643"/>
                  <a:pt x="4739269" y="3914215"/>
                </a:cubicBezTo>
                <a:cubicBezTo>
                  <a:pt x="4736412" y="3922788"/>
                  <a:pt x="4718314" y="3919931"/>
                  <a:pt x="4709741" y="3919931"/>
                </a:cubicBezTo>
                <a:cubicBezTo>
                  <a:pt x="4700216" y="3919931"/>
                  <a:pt x="4702122" y="3929456"/>
                  <a:pt x="4713552" y="3932313"/>
                </a:cubicBezTo>
                <a:cubicBezTo>
                  <a:pt x="4724029" y="3935171"/>
                  <a:pt x="4718314" y="3937075"/>
                  <a:pt x="4716409" y="3943743"/>
                </a:cubicBezTo>
                <a:cubicBezTo>
                  <a:pt x="4714504" y="3949458"/>
                  <a:pt x="4713552" y="3950411"/>
                  <a:pt x="4708789" y="3958983"/>
                </a:cubicBezTo>
                <a:cubicBezTo>
                  <a:pt x="4704027" y="3967556"/>
                  <a:pt x="4697359" y="3968508"/>
                  <a:pt x="4694502" y="3960888"/>
                </a:cubicBezTo>
                <a:cubicBezTo>
                  <a:pt x="4691644" y="3954221"/>
                  <a:pt x="4675452" y="3952315"/>
                  <a:pt x="4667831" y="3958983"/>
                </a:cubicBezTo>
                <a:cubicBezTo>
                  <a:pt x="4661164" y="3965650"/>
                  <a:pt x="4653544" y="3962793"/>
                  <a:pt x="4652591" y="3955173"/>
                </a:cubicBezTo>
                <a:cubicBezTo>
                  <a:pt x="4651639" y="3948506"/>
                  <a:pt x="4646877" y="3944696"/>
                  <a:pt x="4643066" y="3951363"/>
                </a:cubicBezTo>
                <a:cubicBezTo>
                  <a:pt x="4639256" y="3958031"/>
                  <a:pt x="4643066" y="3962793"/>
                  <a:pt x="4646877" y="3971365"/>
                </a:cubicBezTo>
                <a:cubicBezTo>
                  <a:pt x="4650687" y="3979938"/>
                  <a:pt x="4642114" y="3981843"/>
                  <a:pt x="4636399" y="3979938"/>
                </a:cubicBezTo>
                <a:cubicBezTo>
                  <a:pt x="4629731" y="3978033"/>
                  <a:pt x="4624969" y="3978986"/>
                  <a:pt x="4617349" y="3979938"/>
                </a:cubicBezTo>
                <a:cubicBezTo>
                  <a:pt x="4609729" y="3980890"/>
                  <a:pt x="4616397" y="3987558"/>
                  <a:pt x="4624969" y="3988511"/>
                </a:cubicBezTo>
                <a:cubicBezTo>
                  <a:pt x="4633541" y="3989463"/>
                  <a:pt x="4636399" y="3986606"/>
                  <a:pt x="4641162" y="3992321"/>
                </a:cubicBezTo>
                <a:cubicBezTo>
                  <a:pt x="4646877" y="3998036"/>
                  <a:pt x="4641162" y="4009465"/>
                  <a:pt x="4631637" y="4014228"/>
                </a:cubicBezTo>
                <a:cubicBezTo>
                  <a:pt x="4621159" y="4019943"/>
                  <a:pt x="4622112" y="4023753"/>
                  <a:pt x="4619254" y="4031373"/>
                </a:cubicBezTo>
                <a:cubicBezTo>
                  <a:pt x="4616397" y="4038993"/>
                  <a:pt x="4615444" y="4040898"/>
                  <a:pt x="4606872" y="4040898"/>
                </a:cubicBezTo>
                <a:cubicBezTo>
                  <a:pt x="4598299" y="4040898"/>
                  <a:pt x="4596394" y="4042803"/>
                  <a:pt x="4594489" y="4056138"/>
                </a:cubicBezTo>
                <a:cubicBezTo>
                  <a:pt x="4592584" y="4070425"/>
                  <a:pt x="4585916" y="4064711"/>
                  <a:pt x="4583059" y="4058996"/>
                </a:cubicBezTo>
                <a:cubicBezTo>
                  <a:pt x="4580202" y="4053281"/>
                  <a:pt x="4574487" y="4058043"/>
                  <a:pt x="4572581" y="4063758"/>
                </a:cubicBezTo>
                <a:cubicBezTo>
                  <a:pt x="4570677" y="4069473"/>
                  <a:pt x="4567819" y="4071378"/>
                  <a:pt x="4559247" y="4075188"/>
                </a:cubicBezTo>
                <a:cubicBezTo>
                  <a:pt x="4550674" y="4078998"/>
                  <a:pt x="4546864" y="4077093"/>
                  <a:pt x="4544959" y="4086618"/>
                </a:cubicBezTo>
                <a:cubicBezTo>
                  <a:pt x="4543054" y="4096143"/>
                  <a:pt x="4538291" y="4098048"/>
                  <a:pt x="4531624" y="4099000"/>
                </a:cubicBezTo>
                <a:cubicBezTo>
                  <a:pt x="4524956" y="4099953"/>
                  <a:pt x="4522099" y="4099000"/>
                  <a:pt x="4513527" y="4097096"/>
                </a:cubicBezTo>
                <a:cubicBezTo>
                  <a:pt x="4505906" y="4096143"/>
                  <a:pt x="4502097" y="4100906"/>
                  <a:pt x="4501144" y="4109478"/>
                </a:cubicBezTo>
                <a:cubicBezTo>
                  <a:pt x="4500191" y="4119003"/>
                  <a:pt x="4499239" y="4119003"/>
                  <a:pt x="4496381" y="4123765"/>
                </a:cubicBezTo>
                <a:cubicBezTo>
                  <a:pt x="4494477" y="4128528"/>
                  <a:pt x="4492572" y="4128528"/>
                  <a:pt x="4488762" y="4141863"/>
                </a:cubicBezTo>
                <a:cubicBezTo>
                  <a:pt x="4484952" y="4155198"/>
                  <a:pt x="4482094" y="4154246"/>
                  <a:pt x="4471616" y="4160913"/>
                </a:cubicBezTo>
                <a:cubicBezTo>
                  <a:pt x="4462091" y="4166628"/>
                  <a:pt x="4462091" y="4169486"/>
                  <a:pt x="4462091" y="4176153"/>
                </a:cubicBezTo>
                <a:cubicBezTo>
                  <a:pt x="4462091" y="4182821"/>
                  <a:pt x="4460187" y="4189488"/>
                  <a:pt x="4455424" y="4191393"/>
                </a:cubicBezTo>
                <a:cubicBezTo>
                  <a:pt x="4450662" y="4193298"/>
                  <a:pt x="4443994" y="4196156"/>
                  <a:pt x="4434469" y="4194251"/>
                </a:cubicBezTo>
                <a:cubicBezTo>
                  <a:pt x="4423991" y="4193298"/>
                  <a:pt x="4422087" y="4197108"/>
                  <a:pt x="4415419" y="4205681"/>
                </a:cubicBezTo>
                <a:cubicBezTo>
                  <a:pt x="4408752" y="4214253"/>
                  <a:pt x="4407799" y="4211396"/>
                  <a:pt x="4399227" y="4213301"/>
                </a:cubicBezTo>
                <a:cubicBezTo>
                  <a:pt x="4390654" y="4215206"/>
                  <a:pt x="4387797" y="4215206"/>
                  <a:pt x="4380177" y="4221873"/>
                </a:cubicBezTo>
                <a:cubicBezTo>
                  <a:pt x="4372556" y="4228541"/>
                  <a:pt x="4369699" y="4225683"/>
                  <a:pt x="4368747" y="4217111"/>
                </a:cubicBezTo>
                <a:cubicBezTo>
                  <a:pt x="4367794" y="4209491"/>
                  <a:pt x="4360174" y="4211396"/>
                  <a:pt x="4351602" y="4211396"/>
                </a:cubicBezTo>
                <a:cubicBezTo>
                  <a:pt x="4343029" y="4211396"/>
                  <a:pt x="4341124" y="4213301"/>
                  <a:pt x="4340172" y="4225683"/>
                </a:cubicBezTo>
                <a:cubicBezTo>
                  <a:pt x="4339219" y="4238066"/>
                  <a:pt x="4338266" y="4241876"/>
                  <a:pt x="4327789" y="4239018"/>
                </a:cubicBezTo>
                <a:cubicBezTo>
                  <a:pt x="4318264" y="4236161"/>
                  <a:pt x="4316359" y="4235208"/>
                  <a:pt x="4309691" y="4226636"/>
                </a:cubicBezTo>
                <a:cubicBezTo>
                  <a:pt x="4303024" y="4218063"/>
                  <a:pt x="4295404" y="4219968"/>
                  <a:pt x="4284927" y="4224731"/>
                </a:cubicBezTo>
                <a:cubicBezTo>
                  <a:pt x="4274449" y="4229493"/>
                  <a:pt x="4268734" y="4241876"/>
                  <a:pt x="4264924" y="4250448"/>
                </a:cubicBezTo>
                <a:cubicBezTo>
                  <a:pt x="4261114" y="4259021"/>
                  <a:pt x="4259209" y="4260926"/>
                  <a:pt x="4249684" y="4259021"/>
                </a:cubicBezTo>
                <a:cubicBezTo>
                  <a:pt x="4240159" y="4258068"/>
                  <a:pt x="4243016" y="4250448"/>
                  <a:pt x="4241112" y="4239018"/>
                </a:cubicBezTo>
                <a:cubicBezTo>
                  <a:pt x="4239206" y="4227588"/>
                  <a:pt x="4234444" y="4230446"/>
                  <a:pt x="4223966" y="4235208"/>
                </a:cubicBezTo>
                <a:cubicBezTo>
                  <a:pt x="4214441" y="4239971"/>
                  <a:pt x="4217299" y="4248543"/>
                  <a:pt x="4222062" y="4258068"/>
                </a:cubicBezTo>
                <a:cubicBezTo>
                  <a:pt x="4225872" y="4267593"/>
                  <a:pt x="4224919" y="4270451"/>
                  <a:pt x="4216347" y="4272356"/>
                </a:cubicBezTo>
                <a:cubicBezTo>
                  <a:pt x="4208727" y="4274261"/>
                  <a:pt x="4208727" y="4267593"/>
                  <a:pt x="4204916" y="4259973"/>
                </a:cubicBezTo>
                <a:cubicBezTo>
                  <a:pt x="4201106" y="4252353"/>
                  <a:pt x="4192534" y="4253306"/>
                  <a:pt x="4187771" y="4257116"/>
                </a:cubicBezTo>
                <a:cubicBezTo>
                  <a:pt x="4183009" y="4260926"/>
                  <a:pt x="4183009" y="4267593"/>
                  <a:pt x="4189676" y="4272356"/>
                </a:cubicBezTo>
                <a:cubicBezTo>
                  <a:pt x="4196344" y="4277118"/>
                  <a:pt x="4197297" y="4284738"/>
                  <a:pt x="4194439" y="4290453"/>
                </a:cubicBezTo>
                <a:cubicBezTo>
                  <a:pt x="4190629" y="4296168"/>
                  <a:pt x="4172531" y="4296168"/>
                  <a:pt x="4169674" y="4292358"/>
                </a:cubicBezTo>
                <a:cubicBezTo>
                  <a:pt x="4166816" y="4287596"/>
                  <a:pt x="4163006" y="4288548"/>
                  <a:pt x="4156339" y="4289501"/>
                </a:cubicBezTo>
                <a:cubicBezTo>
                  <a:pt x="4149671" y="4290453"/>
                  <a:pt x="4144909" y="4287596"/>
                  <a:pt x="4140146" y="4280928"/>
                </a:cubicBezTo>
                <a:cubicBezTo>
                  <a:pt x="4135384" y="4274261"/>
                  <a:pt x="4127764" y="4258068"/>
                  <a:pt x="4123954" y="4248543"/>
                </a:cubicBezTo>
                <a:cubicBezTo>
                  <a:pt x="4119191" y="4239018"/>
                  <a:pt x="4117286" y="4239971"/>
                  <a:pt x="4109666" y="4236161"/>
                </a:cubicBezTo>
                <a:cubicBezTo>
                  <a:pt x="4102999" y="4232351"/>
                  <a:pt x="4104904" y="4231398"/>
                  <a:pt x="4100141" y="4219016"/>
                </a:cubicBezTo>
                <a:cubicBezTo>
                  <a:pt x="4095379" y="4206633"/>
                  <a:pt x="4090616" y="4211396"/>
                  <a:pt x="4088711" y="4218063"/>
                </a:cubicBezTo>
                <a:cubicBezTo>
                  <a:pt x="4086806" y="4224731"/>
                  <a:pt x="4088711" y="4226636"/>
                  <a:pt x="4094426" y="4238066"/>
                </a:cubicBezTo>
                <a:cubicBezTo>
                  <a:pt x="4100141" y="4249496"/>
                  <a:pt x="4101094" y="4256163"/>
                  <a:pt x="4099189" y="4267593"/>
                </a:cubicBezTo>
                <a:cubicBezTo>
                  <a:pt x="4097284" y="4279023"/>
                  <a:pt x="4101094" y="4283786"/>
                  <a:pt x="4102046" y="4292358"/>
                </a:cubicBezTo>
                <a:cubicBezTo>
                  <a:pt x="4102999" y="4300931"/>
                  <a:pt x="4104904" y="4305693"/>
                  <a:pt x="4101094" y="4313313"/>
                </a:cubicBezTo>
                <a:cubicBezTo>
                  <a:pt x="4097284" y="4321886"/>
                  <a:pt x="4085854" y="4318076"/>
                  <a:pt x="4082044" y="4314266"/>
                </a:cubicBezTo>
                <a:cubicBezTo>
                  <a:pt x="4078234" y="4310456"/>
                  <a:pt x="4075376" y="4314266"/>
                  <a:pt x="4074424" y="4319028"/>
                </a:cubicBezTo>
                <a:cubicBezTo>
                  <a:pt x="4073471" y="4323791"/>
                  <a:pt x="4073471" y="4322838"/>
                  <a:pt x="4067756" y="4333316"/>
                </a:cubicBezTo>
                <a:cubicBezTo>
                  <a:pt x="4062041" y="4343793"/>
                  <a:pt x="4053469" y="4343793"/>
                  <a:pt x="4048706" y="4335221"/>
                </a:cubicBezTo>
                <a:cubicBezTo>
                  <a:pt x="4043944" y="4327601"/>
                  <a:pt x="4043944" y="4321886"/>
                  <a:pt x="4043944" y="4306646"/>
                </a:cubicBezTo>
                <a:cubicBezTo>
                  <a:pt x="4043944" y="4291406"/>
                  <a:pt x="4036324" y="4300931"/>
                  <a:pt x="4036324" y="4308551"/>
                </a:cubicBezTo>
                <a:cubicBezTo>
                  <a:pt x="4036324" y="4316171"/>
                  <a:pt x="4037276" y="4319028"/>
                  <a:pt x="4033466" y="4325696"/>
                </a:cubicBezTo>
                <a:cubicBezTo>
                  <a:pt x="4029656" y="4332363"/>
                  <a:pt x="4029656" y="4334268"/>
                  <a:pt x="4031561" y="4340936"/>
                </a:cubicBezTo>
                <a:cubicBezTo>
                  <a:pt x="4032514" y="4346651"/>
                  <a:pt x="4034419" y="4347603"/>
                  <a:pt x="4030609" y="4354271"/>
                </a:cubicBezTo>
                <a:cubicBezTo>
                  <a:pt x="4027751" y="4361891"/>
                  <a:pt x="4018226" y="4362843"/>
                  <a:pt x="4016321" y="4357128"/>
                </a:cubicBezTo>
                <a:cubicBezTo>
                  <a:pt x="4015369" y="4351413"/>
                  <a:pt x="4007749" y="4351413"/>
                  <a:pt x="3999176" y="4356176"/>
                </a:cubicBezTo>
                <a:cubicBezTo>
                  <a:pt x="3991556" y="4360938"/>
                  <a:pt x="3990604" y="4360938"/>
                  <a:pt x="3986794" y="4370463"/>
                </a:cubicBezTo>
                <a:cubicBezTo>
                  <a:pt x="3982984" y="4379988"/>
                  <a:pt x="3978221" y="4377131"/>
                  <a:pt x="3969649" y="4370463"/>
                </a:cubicBezTo>
                <a:cubicBezTo>
                  <a:pt x="3961076" y="4363796"/>
                  <a:pt x="3956314" y="4369511"/>
                  <a:pt x="3956314" y="4377131"/>
                </a:cubicBezTo>
                <a:cubicBezTo>
                  <a:pt x="3956314" y="4384751"/>
                  <a:pt x="3949646" y="4383798"/>
                  <a:pt x="3942026" y="4385703"/>
                </a:cubicBezTo>
                <a:cubicBezTo>
                  <a:pt x="3934406" y="4387608"/>
                  <a:pt x="3934406" y="4384751"/>
                  <a:pt x="3931549" y="4378083"/>
                </a:cubicBezTo>
                <a:cubicBezTo>
                  <a:pt x="3929644" y="4370463"/>
                  <a:pt x="3928691" y="4370463"/>
                  <a:pt x="3918214" y="4371416"/>
                </a:cubicBezTo>
                <a:cubicBezTo>
                  <a:pt x="3907736" y="4372368"/>
                  <a:pt x="3903926" y="4370463"/>
                  <a:pt x="3899164" y="4376178"/>
                </a:cubicBezTo>
                <a:cubicBezTo>
                  <a:pt x="3894401" y="4380941"/>
                  <a:pt x="3896306" y="4388561"/>
                  <a:pt x="3900116" y="4396181"/>
                </a:cubicBezTo>
                <a:cubicBezTo>
                  <a:pt x="3904879" y="4403801"/>
                  <a:pt x="3895354" y="4403801"/>
                  <a:pt x="3887734" y="4406658"/>
                </a:cubicBezTo>
                <a:cubicBezTo>
                  <a:pt x="3880114" y="4409516"/>
                  <a:pt x="3882019" y="4399991"/>
                  <a:pt x="3882019" y="4387608"/>
                </a:cubicBezTo>
                <a:cubicBezTo>
                  <a:pt x="3882019" y="4374273"/>
                  <a:pt x="3873446" y="4375226"/>
                  <a:pt x="3868684" y="4377131"/>
                </a:cubicBezTo>
                <a:cubicBezTo>
                  <a:pt x="3863921" y="4379036"/>
                  <a:pt x="3863921" y="4382846"/>
                  <a:pt x="3872494" y="4387608"/>
                </a:cubicBezTo>
                <a:cubicBezTo>
                  <a:pt x="3880114" y="4393323"/>
                  <a:pt x="3871541" y="4400943"/>
                  <a:pt x="3863921" y="4405706"/>
                </a:cubicBezTo>
                <a:cubicBezTo>
                  <a:pt x="3856301" y="4411421"/>
                  <a:pt x="3847729" y="4412373"/>
                  <a:pt x="3839156" y="4411421"/>
                </a:cubicBezTo>
                <a:cubicBezTo>
                  <a:pt x="3830584" y="4410468"/>
                  <a:pt x="3823916" y="4407611"/>
                  <a:pt x="3806771" y="4416183"/>
                </a:cubicBezTo>
                <a:cubicBezTo>
                  <a:pt x="3790579" y="4423803"/>
                  <a:pt x="3768671" y="4427613"/>
                  <a:pt x="3753431" y="4430471"/>
                </a:cubicBezTo>
                <a:cubicBezTo>
                  <a:pt x="3737239" y="4434281"/>
                  <a:pt x="3733429" y="4448568"/>
                  <a:pt x="3730571" y="4461903"/>
                </a:cubicBezTo>
                <a:cubicBezTo>
                  <a:pt x="3726761" y="4475238"/>
                  <a:pt x="3720094" y="4469523"/>
                  <a:pt x="3717236" y="4465713"/>
                </a:cubicBezTo>
                <a:cubicBezTo>
                  <a:pt x="3715331" y="4460951"/>
                  <a:pt x="3714379" y="4459998"/>
                  <a:pt x="3711521" y="4447616"/>
                </a:cubicBezTo>
                <a:cubicBezTo>
                  <a:pt x="3708664" y="4436186"/>
                  <a:pt x="3704854" y="4428566"/>
                  <a:pt x="3700091" y="4430471"/>
                </a:cubicBezTo>
                <a:cubicBezTo>
                  <a:pt x="3695329" y="4431423"/>
                  <a:pt x="3697234" y="4437138"/>
                  <a:pt x="3701044" y="4451426"/>
                </a:cubicBezTo>
                <a:cubicBezTo>
                  <a:pt x="3704854" y="4465713"/>
                  <a:pt x="3697234" y="4464761"/>
                  <a:pt x="3689614" y="4468571"/>
                </a:cubicBezTo>
                <a:cubicBezTo>
                  <a:pt x="3681994" y="4472381"/>
                  <a:pt x="3679136" y="4475238"/>
                  <a:pt x="3674374" y="4480953"/>
                </a:cubicBezTo>
                <a:cubicBezTo>
                  <a:pt x="3668659" y="4486668"/>
                  <a:pt x="3671516" y="4492383"/>
                  <a:pt x="3673421" y="4500956"/>
                </a:cubicBezTo>
                <a:cubicBezTo>
                  <a:pt x="3675326" y="4509528"/>
                  <a:pt x="3679136" y="4504766"/>
                  <a:pt x="3691519" y="4507623"/>
                </a:cubicBezTo>
                <a:cubicBezTo>
                  <a:pt x="3703901" y="4510481"/>
                  <a:pt x="3701044" y="4513338"/>
                  <a:pt x="3701044" y="4523816"/>
                </a:cubicBezTo>
                <a:cubicBezTo>
                  <a:pt x="3701044" y="4535246"/>
                  <a:pt x="3702949" y="4537151"/>
                  <a:pt x="3712474" y="4541913"/>
                </a:cubicBezTo>
                <a:cubicBezTo>
                  <a:pt x="3721999" y="4547628"/>
                  <a:pt x="3720094" y="4554296"/>
                  <a:pt x="3712474" y="4566678"/>
                </a:cubicBezTo>
                <a:cubicBezTo>
                  <a:pt x="3704854" y="4578108"/>
                  <a:pt x="3699139" y="4578108"/>
                  <a:pt x="3689614" y="4581918"/>
                </a:cubicBezTo>
                <a:cubicBezTo>
                  <a:pt x="3680089" y="4585728"/>
                  <a:pt x="3670564" y="4585728"/>
                  <a:pt x="3663896" y="4580966"/>
                </a:cubicBezTo>
                <a:cubicBezTo>
                  <a:pt x="3657229" y="4576203"/>
                  <a:pt x="3652466" y="4579061"/>
                  <a:pt x="3643894" y="4581918"/>
                </a:cubicBezTo>
                <a:cubicBezTo>
                  <a:pt x="3635321" y="4584776"/>
                  <a:pt x="3640084" y="4573346"/>
                  <a:pt x="3643894" y="4571441"/>
                </a:cubicBezTo>
                <a:cubicBezTo>
                  <a:pt x="3647704" y="4569536"/>
                  <a:pt x="3650561" y="4566678"/>
                  <a:pt x="3650561" y="4560963"/>
                </a:cubicBezTo>
                <a:cubicBezTo>
                  <a:pt x="3650561" y="4555248"/>
                  <a:pt x="3644846" y="4555248"/>
                  <a:pt x="3637226" y="4551438"/>
                </a:cubicBezTo>
                <a:cubicBezTo>
                  <a:pt x="3628654" y="4547628"/>
                  <a:pt x="3629606" y="4547628"/>
                  <a:pt x="3621034" y="4534293"/>
                </a:cubicBezTo>
                <a:cubicBezTo>
                  <a:pt x="3612461" y="4520958"/>
                  <a:pt x="3613414" y="4513338"/>
                  <a:pt x="3608651" y="4501908"/>
                </a:cubicBezTo>
                <a:cubicBezTo>
                  <a:pt x="3604841" y="4489526"/>
                  <a:pt x="3611509" y="4484763"/>
                  <a:pt x="3617224" y="4467618"/>
                </a:cubicBezTo>
                <a:cubicBezTo>
                  <a:pt x="3622939" y="4450473"/>
                  <a:pt x="3620081" y="4447616"/>
                  <a:pt x="3619129" y="4440948"/>
                </a:cubicBezTo>
                <a:cubicBezTo>
                  <a:pt x="3618176" y="4434281"/>
                  <a:pt x="3623891" y="4437138"/>
                  <a:pt x="3633416" y="4436186"/>
                </a:cubicBezTo>
                <a:cubicBezTo>
                  <a:pt x="3643894" y="4435233"/>
                  <a:pt x="3641036" y="4432376"/>
                  <a:pt x="3641036" y="4426661"/>
                </a:cubicBezTo>
                <a:cubicBezTo>
                  <a:pt x="3641036" y="4420946"/>
                  <a:pt x="3635321" y="4420946"/>
                  <a:pt x="3626749" y="4421898"/>
                </a:cubicBezTo>
                <a:cubicBezTo>
                  <a:pt x="3618176" y="4423803"/>
                  <a:pt x="3616271" y="4420946"/>
                  <a:pt x="3607699" y="4414278"/>
                </a:cubicBezTo>
                <a:cubicBezTo>
                  <a:pt x="3600079" y="4407611"/>
                  <a:pt x="3600079" y="4401896"/>
                  <a:pt x="3599126" y="4391418"/>
                </a:cubicBezTo>
                <a:cubicBezTo>
                  <a:pt x="3597221" y="4380941"/>
                  <a:pt x="3595316" y="4380941"/>
                  <a:pt x="3589601" y="4385703"/>
                </a:cubicBezTo>
                <a:cubicBezTo>
                  <a:pt x="3583886" y="4389513"/>
                  <a:pt x="3585791" y="4396181"/>
                  <a:pt x="3590554" y="4401896"/>
                </a:cubicBezTo>
                <a:cubicBezTo>
                  <a:pt x="3595316" y="4408563"/>
                  <a:pt x="3595316" y="4415231"/>
                  <a:pt x="3587696" y="4419041"/>
                </a:cubicBezTo>
                <a:cubicBezTo>
                  <a:pt x="3581029" y="4422851"/>
                  <a:pt x="3581981" y="4422851"/>
                  <a:pt x="3568646" y="4425708"/>
                </a:cubicBezTo>
                <a:cubicBezTo>
                  <a:pt x="3554359" y="4429518"/>
                  <a:pt x="3544834" y="4431423"/>
                  <a:pt x="3537214" y="4426661"/>
                </a:cubicBezTo>
                <a:cubicBezTo>
                  <a:pt x="3530546" y="4421898"/>
                  <a:pt x="3532451" y="4419993"/>
                  <a:pt x="3539119" y="4412373"/>
                </a:cubicBezTo>
                <a:cubicBezTo>
                  <a:pt x="3545786" y="4404753"/>
                  <a:pt x="3533404" y="4402848"/>
                  <a:pt x="3521021" y="4401896"/>
                </a:cubicBezTo>
                <a:cubicBezTo>
                  <a:pt x="3509591" y="4400943"/>
                  <a:pt x="3510544" y="4394276"/>
                  <a:pt x="3509591" y="4384751"/>
                </a:cubicBezTo>
                <a:cubicBezTo>
                  <a:pt x="3509591" y="4376178"/>
                  <a:pt x="3507686" y="4374273"/>
                  <a:pt x="3503876" y="4374273"/>
                </a:cubicBezTo>
                <a:cubicBezTo>
                  <a:pt x="3500066" y="4374273"/>
                  <a:pt x="3499114" y="4377131"/>
                  <a:pt x="3498161" y="4389513"/>
                </a:cubicBezTo>
                <a:cubicBezTo>
                  <a:pt x="3497209" y="4401896"/>
                  <a:pt x="3492446" y="4401896"/>
                  <a:pt x="3483874" y="4393323"/>
                </a:cubicBezTo>
                <a:cubicBezTo>
                  <a:pt x="3476254" y="4384751"/>
                  <a:pt x="3473396" y="4379036"/>
                  <a:pt x="3472444" y="4370463"/>
                </a:cubicBezTo>
                <a:cubicBezTo>
                  <a:pt x="3471491" y="4361891"/>
                  <a:pt x="3466729" y="4359986"/>
                  <a:pt x="3461014" y="4362843"/>
                </a:cubicBezTo>
                <a:cubicBezTo>
                  <a:pt x="3455299" y="4364748"/>
                  <a:pt x="3456251" y="4369511"/>
                  <a:pt x="3462919" y="4380941"/>
                </a:cubicBezTo>
                <a:cubicBezTo>
                  <a:pt x="3469586" y="4392371"/>
                  <a:pt x="3466729" y="4399991"/>
                  <a:pt x="3460061" y="4405706"/>
                </a:cubicBezTo>
                <a:cubicBezTo>
                  <a:pt x="3453394" y="4410468"/>
                  <a:pt x="3449584" y="4405706"/>
                  <a:pt x="3453394" y="4399038"/>
                </a:cubicBezTo>
                <a:cubicBezTo>
                  <a:pt x="3457204" y="4392371"/>
                  <a:pt x="3455299" y="4388561"/>
                  <a:pt x="3447679" y="4389513"/>
                </a:cubicBezTo>
                <a:cubicBezTo>
                  <a:pt x="3441011" y="4390466"/>
                  <a:pt x="3440059" y="4394276"/>
                  <a:pt x="3435296" y="4404753"/>
                </a:cubicBezTo>
                <a:cubicBezTo>
                  <a:pt x="3430534" y="4416183"/>
                  <a:pt x="3427676" y="4406658"/>
                  <a:pt x="3428629" y="4400943"/>
                </a:cubicBezTo>
                <a:cubicBezTo>
                  <a:pt x="3429581" y="4394276"/>
                  <a:pt x="3422914" y="4394276"/>
                  <a:pt x="3420056" y="4400943"/>
                </a:cubicBezTo>
                <a:cubicBezTo>
                  <a:pt x="3416246" y="4407611"/>
                  <a:pt x="3414341" y="4409516"/>
                  <a:pt x="3407674" y="4407611"/>
                </a:cubicBezTo>
                <a:cubicBezTo>
                  <a:pt x="3404816" y="4406658"/>
                  <a:pt x="3402911" y="4406658"/>
                  <a:pt x="3401006" y="4405706"/>
                </a:cubicBezTo>
                <a:cubicBezTo>
                  <a:pt x="3399101" y="4404753"/>
                  <a:pt x="3396244" y="4404753"/>
                  <a:pt x="3394339" y="4403801"/>
                </a:cubicBezTo>
                <a:cubicBezTo>
                  <a:pt x="3392434" y="4402848"/>
                  <a:pt x="3391481" y="4402848"/>
                  <a:pt x="3388624" y="4399991"/>
                </a:cubicBezTo>
                <a:cubicBezTo>
                  <a:pt x="3385766" y="4397133"/>
                  <a:pt x="3381004" y="4393323"/>
                  <a:pt x="3379099" y="4391418"/>
                </a:cubicBezTo>
                <a:cubicBezTo>
                  <a:pt x="3376241" y="4389513"/>
                  <a:pt x="3365764" y="4388561"/>
                  <a:pt x="3362906" y="4390466"/>
                </a:cubicBezTo>
                <a:cubicBezTo>
                  <a:pt x="3362906" y="4390466"/>
                  <a:pt x="3357191" y="4394276"/>
                  <a:pt x="3354334" y="4395228"/>
                </a:cubicBezTo>
                <a:cubicBezTo>
                  <a:pt x="3351476" y="4396181"/>
                  <a:pt x="3348619" y="4397133"/>
                  <a:pt x="3344809" y="4397133"/>
                </a:cubicBezTo>
                <a:lnTo>
                  <a:pt x="3338141" y="4397133"/>
                </a:lnTo>
                <a:cubicBezTo>
                  <a:pt x="3332426" y="4396181"/>
                  <a:pt x="3335284" y="4396181"/>
                  <a:pt x="3331474" y="4393323"/>
                </a:cubicBezTo>
                <a:cubicBezTo>
                  <a:pt x="3322901" y="4388561"/>
                  <a:pt x="3324806" y="4392371"/>
                  <a:pt x="3320044" y="4392371"/>
                </a:cubicBezTo>
                <a:cubicBezTo>
                  <a:pt x="3316234" y="4392371"/>
                  <a:pt x="3314329" y="4387608"/>
                  <a:pt x="3312424" y="4384751"/>
                </a:cubicBezTo>
                <a:cubicBezTo>
                  <a:pt x="3311471" y="4382846"/>
                  <a:pt x="3309566" y="4378083"/>
                  <a:pt x="3307661" y="4378083"/>
                </a:cubicBezTo>
                <a:cubicBezTo>
                  <a:pt x="3306709" y="4378083"/>
                  <a:pt x="3304804" y="4379036"/>
                  <a:pt x="3302899" y="4379988"/>
                </a:cubicBezTo>
                <a:cubicBezTo>
                  <a:pt x="3300994" y="4381893"/>
                  <a:pt x="3297184" y="4383798"/>
                  <a:pt x="3295279" y="4381893"/>
                </a:cubicBezTo>
                <a:cubicBezTo>
                  <a:pt x="3294326" y="4380941"/>
                  <a:pt x="3293374" y="4379988"/>
                  <a:pt x="3290516" y="4377131"/>
                </a:cubicBezTo>
                <a:cubicBezTo>
                  <a:pt x="3287659" y="4374273"/>
                  <a:pt x="3284801" y="4372368"/>
                  <a:pt x="3284801" y="4372368"/>
                </a:cubicBezTo>
                <a:lnTo>
                  <a:pt x="3282896" y="4370463"/>
                </a:lnTo>
                <a:lnTo>
                  <a:pt x="3280991" y="4369511"/>
                </a:lnTo>
                <a:lnTo>
                  <a:pt x="3278134" y="4368558"/>
                </a:lnTo>
                <a:cubicBezTo>
                  <a:pt x="3274324" y="4368558"/>
                  <a:pt x="3273371" y="4366653"/>
                  <a:pt x="3273371" y="4365701"/>
                </a:cubicBezTo>
                <a:cubicBezTo>
                  <a:pt x="3273371" y="4363796"/>
                  <a:pt x="3272419" y="4362843"/>
                  <a:pt x="3275276" y="4360938"/>
                </a:cubicBezTo>
                <a:cubicBezTo>
                  <a:pt x="3278134" y="4359033"/>
                  <a:pt x="3277181" y="4358081"/>
                  <a:pt x="3277181" y="4358081"/>
                </a:cubicBezTo>
                <a:cubicBezTo>
                  <a:pt x="3277181" y="4355223"/>
                  <a:pt x="3276229" y="4355223"/>
                  <a:pt x="3273371" y="4353318"/>
                </a:cubicBezTo>
                <a:cubicBezTo>
                  <a:pt x="3272419" y="4352366"/>
                  <a:pt x="3269561" y="4352366"/>
                  <a:pt x="3267656" y="4353318"/>
                </a:cubicBezTo>
                <a:cubicBezTo>
                  <a:pt x="3264799" y="4354271"/>
                  <a:pt x="3262894" y="4354271"/>
                  <a:pt x="3261941" y="4352366"/>
                </a:cubicBezTo>
                <a:cubicBezTo>
                  <a:pt x="3260989" y="4350461"/>
                  <a:pt x="3259084" y="4348556"/>
                  <a:pt x="3259084" y="4348556"/>
                </a:cubicBezTo>
                <a:cubicBezTo>
                  <a:pt x="3256226" y="4345698"/>
                  <a:pt x="3255274" y="4345698"/>
                  <a:pt x="3251464" y="4346651"/>
                </a:cubicBezTo>
                <a:cubicBezTo>
                  <a:pt x="3251464" y="4346651"/>
                  <a:pt x="3249559" y="4348556"/>
                  <a:pt x="3246701" y="4346651"/>
                </a:cubicBezTo>
                <a:cubicBezTo>
                  <a:pt x="3244796" y="4344746"/>
                  <a:pt x="3242891" y="4343793"/>
                  <a:pt x="3240986" y="4346651"/>
                </a:cubicBezTo>
                <a:cubicBezTo>
                  <a:pt x="3240034" y="4349508"/>
                  <a:pt x="3238129" y="4350461"/>
                  <a:pt x="3237176" y="4348556"/>
                </a:cubicBezTo>
                <a:cubicBezTo>
                  <a:pt x="3235271" y="4346651"/>
                  <a:pt x="3237176" y="4344746"/>
                  <a:pt x="3236224" y="4341888"/>
                </a:cubicBezTo>
                <a:cubicBezTo>
                  <a:pt x="3235271" y="4338078"/>
                  <a:pt x="3236224" y="4315218"/>
                  <a:pt x="3236224" y="4315218"/>
                </a:cubicBezTo>
                <a:cubicBezTo>
                  <a:pt x="3236224" y="4312361"/>
                  <a:pt x="3237176" y="4306646"/>
                  <a:pt x="3236224" y="4303788"/>
                </a:cubicBezTo>
                <a:cubicBezTo>
                  <a:pt x="3235271" y="4299978"/>
                  <a:pt x="3232414" y="4299026"/>
                  <a:pt x="3227651" y="4299026"/>
                </a:cubicBezTo>
                <a:cubicBezTo>
                  <a:pt x="3222889" y="4299026"/>
                  <a:pt x="3220984" y="4297121"/>
                  <a:pt x="3222889" y="4295216"/>
                </a:cubicBezTo>
                <a:cubicBezTo>
                  <a:pt x="3224794" y="4293311"/>
                  <a:pt x="3224794" y="4291406"/>
                  <a:pt x="3220984" y="4290453"/>
                </a:cubicBezTo>
                <a:cubicBezTo>
                  <a:pt x="3218126" y="4289501"/>
                  <a:pt x="3221936" y="4282833"/>
                  <a:pt x="3221936" y="4282833"/>
                </a:cubicBezTo>
                <a:cubicBezTo>
                  <a:pt x="3223841" y="4279976"/>
                  <a:pt x="3222889" y="4279976"/>
                  <a:pt x="3223841" y="4276166"/>
                </a:cubicBezTo>
                <a:cubicBezTo>
                  <a:pt x="3223841" y="4275213"/>
                  <a:pt x="3224794" y="4273308"/>
                  <a:pt x="3225746" y="4272356"/>
                </a:cubicBezTo>
                <a:cubicBezTo>
                  <a:pt x="3227651" y="4270451"/>
                  <a:pt x="3226699" y="4267593"/>
                  <a:pt x="3229556" y="4265688"/>
                </a:cubicBezTo>
                <a:cubicBezTo>
                  <a:pt x="3230509" y="4264736"/>
                  <a:pt x="3232414" y="4263783"/>
                  <a:pt x="3235271" y="4265688"/>
                </a:cubicBezTo>
                <a:cubicBezTo>
                  <a:pt x="3239081" y="4268546"/>
                  <a:pt x="3242891" y="4255211"/>
                  <a:pt x="3244796" y="4252353"/>
                </a:cubicBezTo>
                <a:cubicBezTo>
                  <a:pt x="3246701" y="4249496"/>
                  <a:pt x="3250511" y="4245686"/>
                  <a:pt x="3251464" y="4242828"/>
                </a:cubicBezTo>
                <a:cubicBezTo>
                  <a:pt x="3253369" y="4239971"/>
                  <a:pt x="3252416" y="4237113"/>
                  <a:pt x="3250511" y="4237113"/>
                </a:cubicBezTo>
                <a:cubicBezTo>
                  <a:pt x="3248606" y="4237113"/>
                  <a:pt x="3236224" y="4233303"/>
                  <a:pt x="3233366" y="4228541"/>
                </a:cubicBezTo>
                <a:cubicBezTo>
                  <a:pt x="3227651" y="4218063"/>
                  <a:pt x="3226699" y="4219016"/>
                  <a:pt x="3222889" y="4218063"/>
                </a:cubicBezTo>
                <a:cubicBezTo>
                  <a:pt x="3219079" y="4217111"/>
                  <a:pt x="3216221" y="4220921"/>
                  <a:pt x="3216221" y="4220921"/>
                </a:cubicBezTo>
                <a:cubicBezTo>
                  <a:pt x="3214316" y="4223778"/>
                  <a:pt x="3204791" y="4226636"/>
                  <a:pt x="3200029" y="4227588"/>
                </a:cubicBezTo>
                <a:cubicBezTo>
                  <a:pt x="3195266" y="4228541"/>
                  <a:pt x="3188599" y="4226636"/>
                  <a:pt x="3187646" y="4222826"/>
                </a:cubicBezTo>
                <a:cubicBezTo>
                  <a:pt x="3186694" y="4219016"/>
                  <a:pt x="3187646" y="4219016"/>
                  <a:pt x="3181931" y="4213301"/>
                </a:cubicBezTo>
                <a:cubicBezTo>
                  <a:pt x="3176216" y="4207586"/>
                  <a:pt x="3171454" y="4211396"/>
                  <a:pt x="3163834" y="4209491"/>
                </a:cubicBezTo>
                <a:cubicBezTo>
                  <a:pt x="3156214" y="4207586"/>
                  <a:pt x="3156214" y="4208538"/>
                  <a:pt x="3156214" y="4213301"/>
                </a:cubicBezTo>
                <a:cubicBezTo>
                  <a:pt x="3156214" y="4218063"/>
                  <a:pt x="3151451" y="4216158"/>
                  <a:pt x="3146689" y="4216158"/>
                </a:cubicBezTo>
                <a:cubicBezTo>
                  <a:pt x="3141926" y="4216158"/>
                  <a:pt x="3140974" y="4217111"/>
                  <a:pt x="3140021" y="4215206"/>
                </a:cubicBezTo>
                <a:cubicBezTo>
                  <a:pt x="3139069" y="4212348"/>
                  <a:pt x="3135259" y="4209491"/>
                  <a:pt x="3132401" y="4208538"/>
                </a:cubicBezTo>
                <a:cubicBezTo>
                  <a:pt x="3129544" y="4207586"/>
                  <a:pt x="3126686" y="4205681"/>
                  <a:pt x="3124781" y="4201871"/>
                </a:cubicBezTo>
                <a:cubicBezTo>
                  <a:pt x="3122876" y="4198061"/>
                  <a:pt x="3112399" y="4196156"/>
                  <a:pt x="3108589" y="4197108"/>
                </a:cubicBezTo>
                <a:cubicBezTo>
                  <a:pt x="3100969" y="4200918"/>
                  <a:pt x="3104779" y="4195203"/>
                  <a:pt x="3103826" y="4187583"/>
                </a:cubicBezTo>
                <a:cubicBezTo>
                  <a:pt x="3103826" y="4184725"/>
                  <a:pt x="3099064" y="4179963"/>
                  <a:pt x="3097159" y="4179011"/>
                </a:cubicBezTo>
                <a:lnTo>
                  <a:pt x="3095254" y="4177106"/>
                </a:lnTo>
                <a:cubicBezTo>
                  <a:pt x="3095254" y="4177106"/>
                  <a:pt x="3091444" y="4174248"/>
                  <a:pt x="3090491" y="4172343"/>
                </a:cubicBezTo>
                <a:cubicBezTo>
                  <a:pt x="3090491" y="4170438"/>
                  <a:pt x="3090491" y="4162818"/>
                  <a:pt x="3087634" y="4165675"/>
                </a:cubicBezTo>
                <a:cubicBezTo>
                  <a:pt x="3085729" y="4167581"/>
                  <a:pt x="3083824" y="4168533"/>
                  <a:pt x="3081919" y="4164723"/>
                </a:cubicBezTo>
                <a:cubicBezTo>
                  <a:pt x="3080014" y="4159008"/>
                  <a:pt x="3078109" y="4162818"/>
                  <a:pt x="3076204" y="4158056"/>
                </a:cubicBezTo>
                <a:cubicBezTo>
                  <a:pt x="3075251" y="4154246"/>
                  <a:pt x="3073346" y="4153293"/>
                  <a:pt x="3069536" y="4156150"/>
                </a:cubicBezTo>
                <a:cubicBezTo>
                  <a:pt x="3067631" y="4158056"/>
                  <a:pt x="3064774" y="4160913"/>
                  <a:pt x="3064774" y="4162818"/>
                </a:cubicBezTo>
                <a:cubicBezTo>
                  <a:pt x="3063821" y="4165675"/>
                  <a:pt x="3062869" y="4168533"/>
                  <a:pt x="3060011" y="4167581"/>
                </a:cubicBezTo>
                <a:cubicBezTo>
                  <a:pt x="3057154" y="4167581"/>
                  <a:pt x="3056201" y="4165675"/>
                  <a:pt x="3053344" y="4165675"/>
                </a:cubicBezTo>
                <a:cubicBezTo>
                  <a:pt x="3049534" y="4165675"/>
                  <a:pt x="3049534" y="4164723"/>
                  <a:pt x="3046676" y="4166628"/>
                </a:cubicBezTo>
                <a:cubicBezTo>
                  <a:pt x="3045724" y="4167581"/>
                  <a:pt x="3044771" y="4167581"/>
                  <a:pt x="3043819" y="4167581"/>
                </a:cubicBezTo>
                <a:cubicBezTo>
                  <a:pt x="3040961" y="4167581"/>
                  <a:pt x="3036199" y="4170438"/>
                  <a:pt x="3034294" y="4172343"/>
                </a:cubicBezTo>
                <a:lnTo>
                  <a:pt x="3032389" y="4174248"/>
                </a:lnTo>
                <a:cubicBezTo>
                  <a:pt x="3032389" y="4174248"/>
                  <a:pt x="3025721" y="4181868"/>
                  <a:pt x="3023816" y="4179963"/>
                </a:cubicBezTo>
                <a:cubicBezTo>
                  <a:pt x="3020959" y="4176153"/>
                  <a:pt x="3019054" y="4179011"/>
                  <a:pt x="3016196" y="4181868"/>
                </a:cubicBezTo>
                <a:cubicBezTo>
                  <a:pt x="3014291" y="4183773"/>
                  <a:pt x="3008576" y="4186631"/>
                  <a:pt x="3008576" y="4188536"/>
                </a:cubicBezTo>
                <a:cubicBezTo>
                  <a:pt x="3009529" y="4192346"/>
                  <a:pt x="3008576" y="4196156"/>
                  <a:pt x="3010481" y="4198061"/>
                </a:cubicBezTo>
                <a:lnTo>
                  <a:pt x="3012386" y="4200918"/>
                </a:lnTo>
                <a:cubicBezTo>
                  <a:pt x="3012386" y="4200918"/>
                  <a:pt x="3017149" y="4211396"/>
                  <a:pt x="3011434" y="4209491"/>
                </a:cubicBezTo>
                <a:cubicBezTo>
                  <a:pt x="3005719" y="4208538"/>
                  <a:pt x="3001909" y="4211396"/>
                  <a:pt x="3000004" y="4215206"/>
                </a:cubicBezTo>
                <a:lnTo>
                  <a:pt x="2998099" y="4217111"/>
                </a:lnTo>
                <a:cubicBezTo>
                  <a:pt x="2998099" y="4217111"/>
                  <a:pt x="2993336" y="4221873"/>
                  <a:pt x="2991431" y="4220921"/>
                </a:cubicBezTo>
                <a:cubicBezTo>
                  <a:pt x="2988574" y="4219968"/>
                  <a:pt x="2986669" y="4218063"/>
                  <a:pt x="2984764" y="4219968"/>
                </a:cubicBezTo>
                <a:cubicBezTo>
                  <a:pt x="2982859" y="4221873"/>
                  <a:pt x="2981906" y="4221873"/>
                  <a:pt x="2980954" y="4219016"/>
                </a:cubicBezTo>
                <a:cubicBezTo>
                  <a:pt x="2979049" y="4214253"/>
                  <a:pt x="2974286" y="4219968"/>
                  <a:pt x="2971429" y="4221873"/>
                </a:cubicBezTo>
                <a:cubicBezTo>
                  <a:pt x="2971429" y="4221873"/>
                  <a:pt x="2966666" y="4226636"/>
                  <a:pt x="2961904" y="4227588"/>
                </a:cubicBezTo>
                <a:cubicBezTo>
                  <a:pt x="2958094" y="4228541"/>
                  <a:pt x="2957141" y="4232351"/>
                  <a:pt x="2952379" y="4235208"/>
                </a:cubicBezTo>
                <a:cubicBezTo>
                  <a:pt x="2949521" y="4238066"/>
                  <a:pt x="2948569" y="4237113"/>
                  <a:pt x="2945711" y="4234256"/>
                </a:cubicBezTo>
                <a:cubicBezTo>
                  <a:pt x="2939996" y="4229493"/>
                  <a:pt x="2938091" y="4238066"/>
                  <a:pt x="2938091" y="4228541"/>
                </a:cubicBezTo>
                <a:cubicBezTo>
                  <a:pt x="2938091" y="4226636"/>
                  <a:pt x="2938091" y="4224731"/>
                  <a:pt x="2938091" y="4222826"/>
                </a:cubicBezTo>
                <a:cubicBezTo>
                  <a:pt x="2938091" y="4216158"/>
                  <a:pt x="2944759" y="4215206"/>
                  <a:pt x="2939996" y="4215206"/>
                </a:cubicBezTo>
                <a:cubicBezTo>
                  <a:pt x="2939996" y="4215206"/>
                  <a:pt x="2932376" y="4217111"/>
                  <a:pt x="2929519" y="4218063"/>
                </a:cubicBezTo>
                <a:cubicBezTo>
                  <a:pt x="2925709" y="4219016"/>
                  <a:pt x="2920946" y="4219968"/>
                  <a:pt x="2919041" y="4220921"/>
                </a:cubicBezTo>
                <a:lnTo>
                  <a:pt x="2916184" y="4222826"/>
                </a:lnTo>
                <a:cubicBezTo>
                  <a:pt x="2916184" y="4222826"/>
                  <a:pt x="2907611" y="4231398"/>
                  <a:pt x="2907611" y="4242828"/>
                </a:cubicBezTo>
                <a:cubicBezTo>
                  <a:pt x="2906659" y="4248543"/>
                  <a:pt x="2903801" y="4247591"/>
                  <a:pt x="2905706" y="4255211"/>
                </a:cubicBezTo>
                <a:cubicBezTo>
                  <a:pt x="2906659" y="4257116"/>
                  <a:pt x="2905706" y="4259021"/>
                  <a:pt x="2905706" y="4259973"/>
                </a:cubicBezTo>
                <a:cubicBezTo>
                  <a:pt x="2904754" y="4261878"/>
                  <a:pt x="2903801" y="4261878"/>
                  <a:pt x="2902849" y="4261878"/>
                </a:cubicBezTo>
                <a:lnTo>
                  <a:pt x="2901896" y="4261878"/>
                </a:lnTo>
                <a:cubicBezTo>
                  <a:pt x="2899991" y="4260926"/>
                  <a:pt x="2898086" y="4258068"/>
                  <a:pt x="2894276" y="4253306"/>
                </a:cubicBezTo>
                <a:cubicBezTo>
                  <a:pt x="2889514" y="4247591"/>
                  <a:pt x="2882846" y="4241876"/>
                  <a:pt x="2875226" y="4234256"/>
                </a:cubicBezTo>
                <a:cubicBezTo>
                  <a:pt x="2866654" y="4227588"/>
                  <a:pt x="2870464" y="4229493"/>
                  <a:pt x="2866654" y="4224731"/>
                </a:cubicBezTo>
                <a:cubicBezTo>
                  <a:pt x="2863796" y="4219968"/>
                  <a:pt x="2864749" y="4216158"/>
                  <a:pt x="2859034" y="4219016"/>
                </a:cubicBezTo>
                <a:cubicBezTo>
                  <a:pt x="2853319" y="4221873"/>
                  <a:pt x="2851414" y="4236161"/>
                  <a:pt x="2845699" y="4242828"/>
                </a:cubicBezTo>
                <a:cubicBezTo>
                  <a:pt x="2840936" y="4250448"/>
                  <a:pt x="2836174" y="4239971"/>
                  <a:pt x="2834269" y="4230446"/>
                </a:cubicBezTo>
                <a:cubicBezTo>
                  <a:pt x="2832364" y="4220921"/>
                  <a:pt x="2829506" y="4219968"/>
                  <a:pt x="2824744" y="4216158"/>
                </a:cubicBezTo>
                <a:cubicBezTo>
                  <a:pt x="2819981" y="4212348"/>
                  <a:pt x="2818076" y="4218063"/>
                  <a:pt x="2816171" y="4222826"/>
                </a:cubicBezTo>
                <a:cubicBezTo>
                  <a:pt x="2815219" y="4224731"/>
                  <a:pt x="2816171" y="4222826"/>
                  <a:pt x="2815219" y="4224731"/>
                </a:cubicBezTo>
                <a:lnTo>
                  <a:pt x="2813314" y="4228541"/>
                </a:lnTo>
                <a:cubicBezTo>
                  <a:pt x="2811409" y="4231398"/>
                  <a:pt x="2808551" y="4233303"/>
                  <a:pt x="2805694" y="4235208"/>
                </a:cubicBezTo>
                <a:cubicBezTo>
                  <a:pt x="2801884" y="4237113"/>
                  <a:pt x="2799026" y="4240923"/>
                  <a:pt x="2799026" y="4244733"/>
                </a:cubicBezTo>
                <a:cubicBezTo>
                  <a:pt x="2799026" y="4248543"/>
                  <a:pt x="2797121" y="4251401"/>
                  <a:pt x="2793311" y="4251401"/>
                </a:cubicBezTo>
                <a:cubicBezTo>
                  <a:pt x="2789501" y="4252353"/>
                  <a:pt x="2786644" y="4252353"/>
                  <a:pt x="2786644" y="4256163"/>
                </a:cubicBezTo>
                <a:cubicBezTo>
                  <a:pt x="2786644" y="4259973"/>
                  <a:pt x="2784739" y="4259973"/>
                  <a:pt x="2779024" y="4259021"/>
                </a:cubicBezTo>
                <a:cubicBezTo>
                  <a:pt x="2772356" y="4258068"/>
                  <a:pt x="2777119" y="4256163"/>
                  <a:pt x="2771404" y="4253306"/>
                </a:cubicBezTo>
                <a:cubicBezTo>
                  <a:pt x="2765689" y="4250448"/>
                  <a:pt x="2764736" y="4248543"/>
                  <a:pt x="2763784" y="4244733"/>
                </a:cubicBezTo>
                <a:cubicBezTo>
                  <a:pt x="2762831" y="4240923"/>
                  <a:pt x="2760926" y="4237113"/>
                  <a:pt x="2758069" y="4236161"/>
                </a:cubicBezTo>
                <a:cubicBezTo>
                  <a:pt x="2755211" y="4235208"/>
                  <a:pt x="2746639" y="4227588"/>
                  <a:pt x="2742829" y="4224731"/>
                </a:cubicBezTo>
                <a:cubicBezTo>
                  <a:pt x="2739019" y="4221873"/>
                  <a:pt x="2734256" y="4219968"/>
                  <a:pt x="2730446" y="4219968"/>
                </a:cubicBezTo>
                <a:cubicBezTo>
                  <a:pt x="2726636" y="4219968"/>
                  <a:pt x="2725684" y="4219968"/>
                  <a:pt x="2722826" y="4216158"/>
                </a:cubicBezTo>
                <a:cubicBezTo>
                  <a:pt x="2719969" y="4212348"/>
                  <a:pt x="2720921" y="4213301"/>
                  <a:pt x="2718064" y="4212348"/>
                </a:cubicBezTo>
                <a:cubicBezTo>
                  <a:pt x="2715206" y="4211396"/>
                  <a:pt x="2714254" y="4213301"/>
                  <a:pt x="2713301" y="4217111"/>
                </a:cubicBezTo>
                <a:cubicBezTo>
                  <a:pt x="2712349" y="4220921"/>
                  <a:pt x="2711396" y="4221873"/>
                  <a:pt x="2707586" y="4221873"/>
                </a:cubicBezTo>
                <a:cubicBezTo>
                  <a:pt x="2703776" y="4220921"/>
                  <a:pt x="2702824" y="4223778"/>
                  <a:pt x="2703776" y="4226636"/>
                </a:cubicBezTo>
                <a:cubicBezTo>
                  <a:pt x="2704729" y="4229493"/>
                  <a:pt x="2702824" y="4231398"/>
                  <a:pt x="2702824" y="4231398"/>
                </a:cubicBezTo>
                <a:lnTo>
                  <a:pt x="2690441" y="4240923"/>
                </a:lnTo>
                <a:cubicBezTo>
                  <a:pt x="2688536" y="4242828"/>
                  <a:pt x="2687584" y="4243781"/>
                  <a:pt x="2685679" y="4249496"/>
                </a:cubicBezTo>
                <a:cubicBezTo>
                  <a:pt x="2683774" y="4255211"/>
                  <a:pt x="2681869" y="4252353"/>
                  <a:pt x="2677106" y="4253306"/>
                </a:cubicBezTo>
                <a:cubicBezTo>
                  <a:pt x="2672344" y="4254258"/>
                  <a:pt x="2670439" y="4255211"/>
                  <a:pt x="2667581" y="4252353"/>
                </a:cubicBezTo>
                <a:cubicBezTo>
                  <a:pt x="2664724" y="4249496"/>
                  <a:pt x="2660914" y="4249496"/>
                  <a:pt x="2657104" y="4249496"/>
                </a:cubicBezTo>
                <a:cubicBezTo>
                  <a:pt x="2650436" y="4248543"/>
                  <a:pt x="2644721" y="4248543"/>
                  <a:pt x="2640911" y="4253306"/>
                </a:cubicBezTo>
                <a:cubicBezTo>
                  <a:pt x="2639006" y="4255211"/>
                  <a:pt x="2636149" y="4255211"/>
                  <a:pt x="2633291" y="4254258"/>
                </a:cubicBezTo>
                <a:cubicBezTo>
                  <a:pt x="2629481" y="4253306"/>
                  <a:pt x="2630434" y="4250448"/>
                  <a:pt x="2628529" y="4244733"/>
                </a:cubicBezTo>
                <a:cubicBezTo>
                  <a:pt x="2626624" y="4239018"/>
                  <a:pt x="2622814" y="4239018"/>
                  <a:pt x="2617099" y="4240923"/>
                </a:cubicBezTo>
                <a:cubicBezTo>
                  <a:pt x="2614241" y="4241876"/>
                  <a:pt x="2613289" y="4242828"/>
                  <a:pt x="2612336" y="4244733"/>
                </a:cubicBezTo>
                <a:cubicBezTo>
                  <a:pt x="2610431" y="4246638"/>
                  <a:pt x="2610431" y="4249496"/>
                  <a:pt x="2610431" y="4251401"/>
                </a:cubicBezTo>
                <a:cubicBezTo>
                  <a:pt x="2610431" y="4255211"/>
                  <a:pt x="2609479" y="4258068"/>
                  <a:pt x="2607574" y="4262831"/>
                </a:cubicBezTo>
                <a:cubicBezTo>
                  <a:pt x="2605669" y="4267593"/>
                  <a:pt x="2603764" y="4268546"/>
                  <a:pt x="2599001" y="4267593"/>
                </a:cubicBezTo>
                <a:cubicBezTo>
                  <a:pt x="2594239" y="4267593"/>
                  <a:pt x="2595191" y="4271403"/>
                  <a:pt x="2597096" y="4275213"/>
                </a:cubicBezTo>
                <a:cubicBezTo>
                  <a:pt x="2599001" y="4279023"/>
                  <a:pt x="2600906" y="4283786"/>
                  <a:pt x="2599001" y="4286643"/>
                </a:cubicBezTo>
                <a:cubicBezTo>
                  <a:pt x="2597096" y="4289501"/>
                  <a:pt x="2598049" y="4291406"/>
                  <a:pt x="2599954" y="4294263"/>
                </a:cubicBezTo>
                <a:cubicBezTo>
                  <a:pt x="2601859" y="4297121"/>
                  <a:pt x="2601859" y="4300931"/>
                  <a:pt x="2601859" y="4304741"/>
                </a:cubicBezTo>
                <a:cubicBezTo>
                  <a:pt x="2600906" y="4307598"/>
                  <a:pt x="2602811" y="4310456"/>
                  <a:pt x="2604716" y="4312361"/>
                </a:cubicBezTo>
                <a:cubicBezTo>
                  <a:pt x="2605669" y="4313313"/>
                  <a:pt x="2605669" y="4314266"/>
                  <a:pt x="2606621" y="4314266"/>
                </a:cubicBezTo>
                <a:cubicBezTo>
                  <a:pt x="2608526" y="4317123"/>
                  <a:pt x="2613289" y="4321886"/>
                  <a:pt x="2615194" y="4325696"/>
                </a:cubicBezTo>
                <a:cubicBezTo>
                  <a:pt x="2619004" y="4332363"/>
                  <a:pt x="2614241" y="4337126"/>
                  <a:pt x="2616146" y="4345698"/>
                </a:cubicBezTo>
                <a:cubicBezTo>
                  <a:pt x="2617099" y="4348556"/>
                  <a:pt x="2615194" y="4349508"/>
                  <a:pt x="2620909" y="4355223"/>
                </a:cubicBezTo>
                <a:cubicBezTo>
                  <a:pt x="2626624" y="4360938"/>
                  <a:pt x="2619004" y="4360938"/>
                  <a:pt x="2615194" y="4360938"/>
                </a:cubicBezTo>
                <a:cubicBezTo>
                  <a:pt x="2611384" y="4360938"/>
                  <a:pt x="2612336" y="4363796"/>
                  <a:pt x="2612336" y="4366653"/>
                </a:cubicBezTo>
                <a:cubicBezTo>
                  <a:pt x="2613289" y="4369511"/>
                  <a:pt x="2612336" y="4370463"/>
                  <a:pt x="2612336" y="4372368"/>
                </a:cubicBezTo>
                <a:cubicBezTo>
                  <a:pt x="2611384" y="4375226"/>
                  <a:pt x="2611384" y="4378083"/>
                  <a:pt x="2610431" y="4381893"/>
                </a:cubicBezTo>
                <a:cubicBezTo>
                  <a:pt x="2609479" y="4384751"/>
                  <a:pt x="2607574" y="4392371"/>
                  <a:pt x="2609479" y="4396181"/>
                </a:cubicBezTo>
                <a:cubicBezTo>
                  <a:pt x="2611384" y="4399991"/>
                  <a:pt x="2617099" y="4399038"/>
                  <a:pt x="2619004" y="4401896"/>
                </a:cubicBezTo>
                <a:cubicBezTo>
                  <a:pt x="2620909" y="4404753"/>
                  <a:pt x="2621861" y="4409516"/>
                  <a:pt x="2619004" y="4410468"/>
                </a:cubicBezTo>
                <a:cubicBezTo>
                  <a:pt x="2615194" y="4410468"/>
                  <a:pt x="2615194" y="4412373"/>
                  <a:pt x="2614241" y="4415231"/>
                </a:cubicBezTo>
                <a:cubicBezTo>
                  <a:pt x="2614241" y="4419041"/>
                  <a:pt x="2612336" y="4419041"/>
                  <a:pt x="2608526" y="4419041"/>
                </a:cubicBezTo>
                <a:cubicBezTo>
                  <a:pt x="2604716" y="4419041"/>
                  <a:pt x="2590429" y="4409516"/>
                  <a:pt x="2588524" y="4408563"/>
                </a:cubicBezTo>
                <a:cubicBezTo>
                  <a:pt x="2584714" y="4406658"/>
                  <a:pt x="2579951" y="4401896"/>
                  <a:pt x="2574236" y="4404753"/>
                </a:cubicBezTo>
                <a:cubicBezTo>
                  <a:pt x="2570426" y="4406658"/>
                  <a:pt x="2568521" y="4404753"/>
                  <a:pt x="2564711" y="4405706"/>
                </a:cubicBezTo>
                <a:cubicBezTo>
                  <a:pt x="2560901" y="4406658"/>
                  <a:pt x="2557091" y="4409516"/>
                  <a:pt x="2552329" y="4408563"/>
                </a:cubicBezTo>
                <a:cubicBezTo>
                  <a:pt x="2547566" y="4407611"/>
                  <a:pt x="2543756" y="4399991"/>
                  <a:pt x="2545661" y="4397133"/>
                </a:cubicBezTo>
                <a:cubicBezTo>
                  <a:pt x="2547566" y="4395228"/>
                  <a:pt x="2549471" y="4391418"/>
                  <a:pt x="2547566" y="4390466"/>
                </a:cubicBezTo>
                <a:cubicBezTo>
                  <a:pt x="2545661" y="4389513"/>
                  <a:pt x="2540899" y="4388561"/>
                  <a:pt x="2538994" y="4384751"/>
                </a:cubicBezTo>
                <a:cubicBezTo>
                  <a:pt x="2537089" y="4380941"/>
                  <a:pt x="2536136" y="4377131"/>
                  <a:pt x="2538994" y="4376178"/>
                </a:cubicBezTo>
                <a:cubicBezTo>
                  <a:pt x="2541851" y="4375226"/>
                  <a:pt x="2543756" y="4374273"/>
                  <a:pt x="2543756" y="4371416"/>
                </a:cubicBezTo>
                <a:cubicBezTo>
                  <a:pt x="2543756" y="4368558"/>
                  <a:pt x="2540899" y="4367606"/>
                  <a:pt x="2543756" y="4363796"/>
                </a:cubicBezTo>
                <a:cubicBezTo>
                  <a:pt x="2546614" y="4359986"/>
                  <a:pt x="2546614" y="4359033"/>
                  <a:pt x="2542804" y="4357128"/>
                </a:cubicBezTo>
                <a:cubicBezTo>
                  <a:pt x="2538994" y="4355223"/>
                  <a:pt x="2538041" y="4359033"/>
                  <a:pt x="2539946" y="4352366"/>
                </a:cubicBezTo>
                <a:cubicBezTo>
                  <a:pt x="2541851" y="4345698"/>
                  <a:pt x="2544709" y="4341888"/>
                  <a:pt x="2538041" y="4332363"/>
                </a:cubicBezTo>
                <a:cubicBezTo>
                  <a:pt x="2537089" y="4331411"/>
                  <a:pt x="2534231" y="4330458"/>
                  <a:pt x="2531374" y="4331411"/>
                </a:cubicBezTo>
                <a:cubicBezTo>
                  <a:pt x="2530421" y="4331411"/>
                  <a:pt x="2530421" y="4331411"/>
                  <a:pt x="2529469" y="4332363"/>
                </a:cubicBezTo>
                <a:cubicBezTo>
                  <a:pt x="2524706" y="4333316"/>
                  <a:pt x="2519944" y="4335221"/>
                  <a:pt x="2518039" y="4336173"/>
                </a:cubicBezTo>
                <a:cubicBezTo>
                  <a:pt x="2516134" y="4337126"/>
                  <a:pt x="2512324" y="4338078"/>
                  <a:pt x="2508514" y="4338078"/>
                </a:cubicBezTo>
                <a:cubicBezTo>
                  <a:pt x="2501846" y="4337126"/>
                  <a:pt x="2502799" y="4338078"/>
                  <a:pt x="2498989" y="4342841"/>
                </a:cubicBezTo>
                <a:cubicBezTo>
                  <a:pt x="2495179" y="4346651"/>
                  <a:pt x="2490416" y="4352366"/>
                  <a:pt x="2488511" y="4354271"/>
                </a:cubicBezTo>
                <a:lnTo>
                  <a:pt x="2484701" y="4356176"/>
                </a:lnTo>
                <a:cubicBezTo>
                  <a:pt x="2484701" y="4356176"/>
                  <a:pt x="2475176" y="4362843"/>
                  <a:pt x="2472319" y="4363796"/>
                </a:cubicBezTo>
                <a:cubicBezTo>
                  <a:pt x="2469461" y="4364748"/>
                  <a:pt x="2465651" y="4365701"/>
                  <a:pt x="2462794" y="4364748"/>
                </a:cubicBezTo>
                <a:cubicBezTo>
                  <a:pt x="2458984" y="4363796"/>
                  <a:pt x="2452316" y="4362843"/>
                  <a:pt x="2451364" y="4359033"/>
                </a:cubicBezTo>
                <a:cubicBezTo>
                  <a:pt x="2449459" y="4353318"/>
                  <a:pt x="2448506" y="4349508"/>
                  <a:pt x="2441839" y="4350461"/>
                </a:cubicBezTo>
                <a:cubicBezTo>
                  <a:pt x="2438029" y="4350461"/>
                  <a:pt x="2432314" y="4350461"/>
                  <a:pt x="2429456" y="4354271"/>
                </a:cubicBezTo>
                <a:cubicBezTo>
                  <a:pt x="2427551" y="4357128"/>
                  <a:pt x="2425646" y="4360938"/>
                  <a:pt x="2423741" y="4357128"/>
                </a:cubicBezTo>
                <a:cubicBezTo>
                  <a:pt x="2421836" y="4353318"/>
                  <a:pt x="2417074" y="4353318"/>
                  <a:pt x="2415169" y="4354271"/>
                </a:cubicBezTo>
                <a:cubicBezTo>
                  <a:pt x="2405644" y="4353318"/>
                  <a:pt x="2405644" y="4344746"/>
                  <a:pt x="2412311" y="4338078"/>
                </a:cubicBezTo>
                <a:cubicBezTo>
                  <a:pt x="2415169" y="4335221"/>
                  <a:pt x="2416121" y="4333316"/>
                  <a:pt x="2414216" y="4330458"/>
                </a:cubicBezTo>
                <a:cubicBezTo>
                  <a:pt x="2413264" y="4328553"/>
                  <a:pt x="2412311" y="4328553"/>
                  <a:pt x="2411359" y="4327601"/>
                </a:cubicBezTo>
                <a:cubicBezTo>
                  <a:pt x="2404691" y="4325696"/>
                  <a:pt x="2405644" y="4338078"/>
                  <a:pt x="2397071" y="4332363"/>
                </a:cubicBezTo>
                <a:cubicBezTo>
                  <a:pt x="2393261" y="4329506"/>
                  <a:pt x="2398024" y="4324743"/>
                  <a:pt x="2391356" y="4319981"/>
                </a:cubicBezTo>
                <a:cubicBezTo>
                  <a:pt x="2386594" y="4315218"/>
                  <a:pt x="2387546" y="4303788"/>
                  <a:pt x="2389451" y="4300931"/>
                </a:cubicBezTo>
                <a:cubicBezTo>
                  <a:pt x="2391356" y="4299026"/>
                  <a:pt x="2393261" y="4295216"/>
                  <a:pt x="2394214" y="4292358"/>
                </a:cubicBezTo>
                <a:cubicBezTo>
                  <a:pt x="2397071" y="4285691"/>
                  <a:pt x="2395166" y="4279976"/>
                  <a:pt x="2389451" y="4278071"/>
                </a:cubicBezTo>
                <a:cubicBezTo>
                  <a:pt x="2387546" y="4277118"/>
                  <a:pt x="2384689" y="4276166"/>
                  <a:pt x="2383736" y="4279023"/>
                </a:cubicBezTo>
                <a:cubicBezTo>
                  <a:pt x="2382784" y="4281881"/>
                  <a:pt x="2378974" y="4279023"/>
                  <a:pt x="2375164" y="4276166"/>
                </a:cubicBezTo>
                <a:cubicBezTo>
                  <a:pt x="2371354" y="4273308"/>
                  <a:pt x="2370401" y="4272356"/>
                  <a:pt x="2368496" y="4273308"/>
                </a:cubicBezTo>
                <a:cubicBezTo>
                  <a:pt x="2366591" y="4274261"/>
                  <a:pt x="2365639" y="4276166"/>
                  <a:pt x="2363734" y="4276166"/>
                </a:cubicBezTo>
                <a:cubicBezTo>
                  <a:pt x="2362781" y="4276166"/>
                  <a:pt x="2358019" y="4270451"/>
                  <a:pt x="2355161" y="4268546"/>
                </a:cubicBezTo>
                <a:cubicBezTo>
                  <a:pt x="2353256" y="4267593"/>
                  <a:pt x="2344684" y="4264736"/>
                  <a:pt x="2341826" y="4263783"/>
                </a:cubicBezTo>
                <a:cubicBezTo>
                  <a:pt x="2338969" y="4262831"/>
                  <a:pt x="2328491" y="4263783"/>
                  <a:pt x="2328491" y="4263783"/>
                </a:cubicBezTo>
                <a:lnTo>
                  <a:pt x="2323729" y="4263783"/>
                </a:lnTo>
                <a:cubicBezTo>
                  <a:pt x="2309441" y="4264736"/>
                  <a:pt x="2297059" y="4258068"/>
                  <a:pt x="2297059" y="4258068"/>
                </a:cubicBezTo>
                <a:cubicBezTo>
                  <a:pt x="2292296" y="4255211"/>
                  <a:pt x="2294201" y="4253306"/>
                  <a:pt x="2297059" y="4249496"/>
                </a:cubicBezTo>
                <a:cubicBezTo>
                  <a:pt x="2298964" y="4246638"/>
                  <a:pt x="2302774" y="4244733"/>
                  <a:pt x="2305631" y="4242828"/>
                </a:cubicBezTo>
                <a:cubicBezTo>
                  <a:pt x="2310394" y="4239971"/>
                  <a:pt x="2312299" y="4233303"/>
                  <a:pt x="2313251" y="4224731"/>
                </a:cubicBezTo>
                <a:cubicBezTo>
                  <a:pt x="2314204" y="4217111"/>
                  <a:pt x="2319919" y="4215206"/>
                  <a:pt x="2324681" y="4212348"/>
                </a:cubicBezTo>
                <a:cubicBezTo>
                  <a:pt x="2329444" y="4209491"/>
                  <a:pt x="2328491" y="4202823"/>
                  <a:pt x="2329444" y="4198061"/>
                </a:cubicBezTo>
                <a:cubicBezTo>
                  <a:pt x="2327539" y="4188536"/>
                  <a:pt x="2323729" y="4189488"/>
                  <a:pt x="2323729" y="4182821"/>
                </a:cubicBezTo>
                <a:cubicBezTo>
                  <a:pt x="2322776" y="4177106"/>
                  <a:pt x="2333254" y="4173296"/>
                  <a:pt x="2337064" y="4168533"/>
                </a:cubicBezTo>
                <a:cubicBezTo>
                  <a:pt x="2338969" y="4166628"/>
                  <a:pt x="2342779" y="4160913"/>
                  <a:pt x="2342779" y="4156150"/>
                </a:cubicBezTo>
                <a:cubicBezTo>
                  <a:pt x="2341826" y="4152340"/>
                  <a:pt x="2345636" y="4154246"/>
                  <a:pt x="2347541" y="4156150"/>
                </a:cubicBezTo>
                <a:cubicBezTo>
                  <a:pt x="2358971" y="4164723"/>
                  <a:pt x="2354209" y="4150436"/>
                  <a:pt x="2353256" y="4147578"/>
                </a:cubicBezTo>
                <a:cubicBezTo>
                  <a:pt x="2352304" y="4143768"/>
                  <a:pt x="2354209" y="4139958"/>
                  <a:pt x="2353256" y="4137100"/>
                </a:cubicBezTo>
                <a:cubicBezTo>
                  <a:pt x="2353256" y="4132338"/>
                  <a:pt x="2347541" y="4132338"/>
                  <a:pt x="2347541" y="4132338"/>
                </a:cubicBezTo>
                <a:lnTo>
                  <a:pt x="2343731" y="4131386"/>
                </a:lnTo>
                <a:cubicBezTo>
                  <a:pt x="2341826" y="4131386"/>
                  <a:pt x="2338016" y="4132338"/>
                  <a:pt x="2335159" y="4128528"/>
                </a:cubicBezTo>
                <a:cubicBezTo>
                  <a:pt x="2333254" y="4124718"/>
                  <a:pt x="2330396" y="4126623"/>
                  <a:pt x="2327539" y="4128528"/>
                </a:cubicBezTo>
                <a:cubicBezTo>
                  <a:pt x="2324681" y="4130433"/>
                  <a:pt x="2319919" y="4129481"/>
                  <a:pt x="2319919" y="4129481"/>
                </a:cubicBezTo>
                <a:lnTo>
                  <a:pt x="2317061" y="4127575"/>
                </a:lnTo>
                <a:cubicBezTo>
                  <a:pt x="2314204" y="4125671"/>
                  <a:pt x="2312299" y="4125671"/>
                  <a:pt x="2307536" y="4125671"/>
                </a:cubicBezTo>
                <a:cubicBezTo>
                  <a:pt x="2304679" y="4125671"/>
                  <a:pt x="2302774" y="4126623"/>
                  <a:pt x="2300869" y="4125671"/>
                </a:cubicBezTo>
                <a:cubicBezTo>
                  <a:pt x="2297059" y="4123765"/>
                  <a:pt x="2296106" y="4121861"/>
                  <a:pt x="2296106" y="4117098"/>
                </a:cubicBezTo>
                <a:cubicBezTo>
                  <a:pt x="2297059" y="4113288"/>
                  <a:pt x="2292296" y="4114240"/>
                  <a:pt x="2289439" y="4114240"/>
                </a:cubicBezTo>
                <a:cubicBezTo>
                  <a:pt x="2283724" y="4116146"/>
                  <a:pt x="2280866" y="4115193"/>
                  <a:pt x="2277056" y="4110431"/>
                </a:cubicBezTo>
                <a:cubicBezTo>
                  <a:pt x="2276104" y="4107573"/>
                  <a:pt x="2278961" y="4105668"/>
                  <a:pt x="2280866" y="4102811"/>
                </a:cubicBezTo>
                <a:cubicBezTo>
                  <a:pt x="2284676" y="4099000"/>
                  <a:pt x="2286581" y="4094238"/>
                  <a:pt x="2281819" y="4092333"/>
                </a:cubicBezTo>
                <a:cubicBezTo>
                  <a:pt x="2277056" y="4092333"/>
                  <a:pt x="2278961" y="4088523"/>
                  <a:pt x="2280866" y="4085665"/>
                </a:cubicBezTo>
                <a:cubicBezTo>
                  <a:pt x="2284676" y="4079950"/>
                  <a:pt x="2279914" y="4073283"/>
                  <a:pt x="2275151" y="4069473"/>
                </a:cubicBezTo>
                <a:cubicBezTo>
                  <a:pt x="2269436" y="4064711"/>
                  <a:pt x="2270389" y="4064711"/>
                  <a:pt x="2276104" y="4059948"/>
                </a:cubicBezTo>
                <a:cubicBezTo>
                  <a:pt x="2278961" y="4058043"/>
                  <a:pt x="2276104" y="4054233"/>
                  <a:pt x="2275151" y="4052328"/>
                </a:cubicBezTo>
                <a:cubicBezTo>
                  <a:pt x="2273246" y="4050423"/>
                  <a:pt x="2273246" y="4038993"/>
                  <a:pt x="2273246" y="4038993"/>
                </a:cubicBezTo>
                <a:lnTo>
                  <a:pt x="2273246" y="4043756"/>
                </a:lnTo>
                <a:cubicBezTo>
                  <a:pt x="2273246" y="4038993"/>
                  <a:pt x="2269436" y="4038040"/>
                  <a:pt x="2264674" y="4038993"/>
                </a:cubicBezTo>
                <a:cubicBezTo>
                  <a:pt x="2256101" y="4039946"/>
                  <a:pt x="2256101" y="4036136"/>
                  <a:pt x="2258959" y="4031373"/>
                </a:cubicBezTo>
                <a:cubicBezTo>
                  <a:pt x="2260864" y="4024706"/>
                  <a:pt x="2259911" y="4020896"/>
                  <a:pt x="2258959" y="4018038"/>
                </a:cubicBezTo>
                <a:cubicBezTo>
                  <a:pt x="2258006" y="4014228"/>
                  <a:pt x="2258959" y="4012323"/>
                  <a:pt x="2269436" y="4011371"/>
                </a:cubicBezTo>
                <a:cubicBezTo>
                  <a:pt x="2273246" y="4010418"/>
                  <a:pt x="2273246" y="4010418"/>
                  <a:pt x="2276104" y="4008513"/>
                </a:cubicBezTo>
                <a:cubicBezTo>
                  <a:pt x="2276104" y="4008513"/>
                  <a:pt x="2280866" y="4005656"/>
                  <a:pt x="2284676" y="4004703"/>
                </a:cubicBezTo>
                <a:cubicBezTo>
                  <a:pt x="2288486" y="4003750"/>
                  <a:pt x="2288486" y="4000893"/>
                  <a:pt x="2287534" y="3997083"/>
                </a:cubicBezTo>
                <a:cubicBezTo>
                  <a:pt x="2286581" y="3993273"/>
                  <a:pt x="2287534" y="3991368"/>
                  <a:pt x="2283724" y="3994225"/>
                </a:cubicBezTo>
                <a:cubicBezTo>
                  <a:pt x="2279914" y="3997083"/>
                  <a:pt x="2280866" y="3998036"/>
                  <a:pt x="2278009" y="3998036"/>
                </a:cubicBezTo>
                <a:cubicBezTo>
                  <a:pt x="2274199" y="3998036"/>
                  <a:pt x="2274199" y="3998036"/>
                  <a:pt x="2267531" y="3999940"/>
                </a:cubicBezTo>
                <a:cubicBezTo>
                  <a:pt x="2260864" y="4001846"/>
                  <a:pt x="2255149" y="4000893"/>
                  <a:pt x="2252291" y="3998036"/>
                </a:cubicBezTo>
                <a:cubicBezTo>
                  <a:pt x="2251339" y="3997083"/>
                  <a:pt x="2250386" y="3997083"/>
                  <a:pt x="2249434" y="3996131"/>
                </a:cubicBezTo>
                <a:cubicBezTo>
                  <a:pt x="2249434" y="3996131"/>
                  <a:pt x="2243719" y="3991368"/>
                  <a:pt x="2239909" y="3991368"/>
                </a:cubicBezTo>
                <a:cubicBezTo>
                  <a:pt x="2235146" y="3992321"/>
                  <a:pt x="2231336" y="3993273"/>
                  <a:pt x="2227526" y="3993273"/>
                </a:cubicBezTo>
                <a:cubicBezTo>
                  <a:pt x="2223716" y="3993273"/>
                  <a:pt x="2219906" y="3993273"/>
                  <a:pt x="2215144" y="3991368"/>
                </a:cubicBezTo>
                <a:cubicBezTo>
                  <a:pt x="2215144" y="3991368"/>
                  <a:pt x="2210381" y="3989463"/>
                  <a:pt x="2207524" y="3989463"/>
                </a:cubicBezTo>
                <a:cubicBezTo>
                  <a:pt x="2201809" y="3989463"/>
                  <a:pt x="2198951" y="3988511"/>
                  <a:pt x="2195141" y="3992321"/>
                </a:cubicBezTo>
                <a:cubicBezTo>
                  <a:pt x="2195141" y="3992321"/>
                  <a:pt x="2189426" y="3995178"/>
                  <a:pt x="2186569" y="3994225"/>
                </a:cubicBezTo>
                <a:cubicBezTo>
                  <a:pt x="2182759" y="3994225"/>
                  <a:pt x="2175139" y="3995178"/>
                  <a:pt x="2175139" y="3995178"/>
                </a:cubicBezTo>
                <a:cubicBezTo>
                  <a:pt x="2167519" y="3996131"/>
                  <a:pt x="2157994" y="4000893"/>
                  <a:pt x="2153231" y="4003750"/>
                </a:cubicBezTo>
                <a:cubicBezTo>
                  <a:pt x="2149421" y="4005656"/>
                  <a:pt x="2145611" y="4007561"/>
                  <a:pt x="2142754" y="4009465"/>
                </a:cubicBezTo>
                <a:cubicBezTo>
                  <a:pt x="2129419" y="4016133"/>
                  <a:pt x="2129419" y="4011371"/>
                  <a:pt x="2124656" y="4005656"/>
                </a:cubicBezTo>
                <a:cubicBezTo>
                  <a:pt x="2120846" y="4001846"/>
                  <a:pt x="2127514" y="3997083"/>
                  <a:pt x="2129419" y="3996131"/>
                </a:cubicBezTo>
                <a:cubicBezTo>
                  <a:pt x="2131324" y="3995178"/>
                  <a:pt x="2134181" y="3993273"/>
                  <a:pt x="2135134" y="3990415"/>
                </a:cubicBezTo>
                <a:cubicBezTo>
                  <a:pt x="2136086" y="3987558"/>
                  <a:pt x="2142754" y="3983748"/>
                  <a:pt x="2145611" y="3981843"/>
                </a:cubicBezTo>
                <a:cubicBezTo>
                  <a:pt x="2147516" y="3980890"/>
                  <a:pt x="2150374" y="3977081"/>
                  <a:pt x="2151326" y="3974223"/>
                </a:cubicBezTo>
                <a:cubicBezTo>
                  <a:pt x="2152279" y="3971365"/>
                  <a:pt x="2150374" y="3967556"/>
                  <a:pt x="2151326" y="3962793"/>
                </a:cubicBezTo>
                <a:cubicBezTo>
                  <a:pt x="2152279" y="3958983"/>
                  <a:pt x="2146564" y="3958031"/>
                  <a:pt x="2146564" y="3958031"/>
                </a:cubicBezTo>
                <a:lnTo>
                  <a:pt x="2143706" y="3957078"/>
                </a:lnTo>
                <a:cubicBezTo>
                  <a:pt x="2137991" y="3948506"/>
                  <a:pt x="2151326" y="3953268"/>
                  <a:pt x="2148469" y="3945648"/>
                </a:cubicBezTo>
                <a:cubicBezTo>
                  <a:pt x="2147516" y="3942790"/>
                  <a:pt x="2144659" y="3938028"/>
                  <a:pt x="2144659" y="3938028"/>
                </a:cubicBezTo>
                <a:cubicBezTo>
                  <a:pt x="2141801" y="3933265"/>
                  <a:pt x="2140849" y="3938981"/>
                  <a:pt x="2136086" y="3936123"/>
                </a:cubicBezTo>
                <a:cubicBezTo>
                  <a:pt x="2129419" y="3932313"/>
                  <a:pt x="2128466" y="3935171"/>
                  <a:pt x="2131324" y="3924693"/>
                </a:cubicBezTo>
                <a:cubicBezTo>
                  <a:pt x="2132276" y="3921836"/>
                  <a:pt x="2133229" y="3918025"/>
                  <a:pt x="2134181" y="3916121"/>
                </a:cubicBezTo>
                <a:cubicBezTo>
                  <a:pt x="2135134" y="3913263"/>
                  <a:pt x="2137039" y="3899928"/>
                  <a:pt x="2137039" y="3899928"/>
                </a:cubicBezTo>
                <a:cubicBezTo>
                  <a:pt x="2138944" y="3888498"/>
                  <a:pt x="2145611" y="3892308"/>
                  <a:pt x="2150374" y="3884688"/>
                </a:cubicBezTo>
                <a:cubicBezTo>
                  <a:pt x="2154184" y="3878973"/>
                  <a:pt x="2166566" y="3889450"/>
                  <a:pt x="2164661" y="3880878"/>
                </a:cubicBezTo>
                <a:cubicBezTo>
                  <a:pt x="2164661" y="3880878"/>
                  <a:pt x="2164661" y="3877068"/>
                  <a:pt x="2162756" y="3875163"/>
                </a:cubicBezTo>
                <a:cubicBezTo>
                  <a:pt x="2160851" y="3874211"/>
                  <a:pt x="2159899" y="3868496"/>
                  <a:pt x="2159899" y="3868496"/>
                </a:cubicBezTo>
                <a:cubicBezTo>
                  <a:pt x="2158946" y="3866590"/>
                  <a:pt x="2160851" y="3862781"/>
                  <a:pt x="2162756" y="3858971"/>
                </a:cubicBezTo>
                <a:cubicBezTo>
                  <a:pt x="2165614" y="3852303"/>
                  <a:pt x="2159899" y="3850398"/>
                  <a:pt x="2167519" y="3847540"/>
                </a:cubicBezTo>
                <a:cubicBezTo>
                  <a:pt x="2171329" y="3845636"/>
                  <a:pt x="2172281" y="3839921"/>
                  <a:pt x="2174186" y="3837063"/>
                </a:cubicBezTo>
                <a:cubicBezTo>
                  <a:pt x="2177996" y="3832300"/>
                  <a:pt x="2177044" y="3826586"/>
                  <a:pt x="2184664" y="3831348"/>
                </a:cubicBezTo>
                <a:cubicBezTo>
                  <a:pt x="2186569" y="3832300"/>
                  <a:pt x="2189426" y="3834206"/>
                  <a:pt x="2191331" y="3834206"/>
                </a:cubicBezTo>
                <a:cubicBezTo>
                  <a:pt x="2194189" y="3834206"/>
                  <a:pt x="2197999" y="3826586"/>
                  <a:pt x="2197999" y="3826586"/>
                </a:cubicBezTo>
                <a:cubicBezTo>
                  <a:pt x="2200856" y="3824681"/>
                  <a:pt x="2201809" y="3821823"/>
                  <a:pt x="2205619" y="3820871"/>
                </a:cubicBezTo>
                <a:cubicBezTo>
                  <a:pt x="2210381" y="3819918"/>
                  <a:pt x="2209429" y="3812298"/>
                  <a:pt x="2215144" y="3809440"/>
                </a:cubicBezTo>
                <a:cubicBezTo>
                  <a:pt x="2218954" y="3807536"/>
                  <a:pt x="2219906" y="3804678"/>
                  <a:pt x="2218954" y="3801821"/>
                </a:cubicBezTo>
                <a:cubicBezTo>
                  <a:pt x="2218001" y="3797058"/>
                  <a:pt x="2218001" y="3798963"/>
                  <a:pt x="2219906" y="3794200"/>
                </a:cubicBezTo>
                <a:cubicBezTo>
                  <a:pt x="2221811" y="3790390"/>
                  <a:pt x="2223716" y="3786581"/>
                  <a:pt x="2223716" y="3784675"/>
                </a:cubicBezTo>
                <a:cubicBezTo>
                  <a:pt x="2222764" y="3776103"/>
                  <a:pt x="2236099" y="3789438"/>
                  <a:pt x="2238004" y="3789438"/>
                </a:cubicBezTo>
                <a:cubicBezTo>
                  <a:pt x="2243719" y="3795153"/>
                  <a:pt x="2247529" y="3794200"/>
                  <a:pt x="2250386" y="3785628"/>
                </a:cubicBezTo>
                <a:cubicBezTo>
                  <a:pt x="2253244" y="3778961"/>
                  <a:pt x="2257054" y="3778008"/>
                  <a:pt x="2260864" y="3773246"/>
                </a:cubicBezTo>
                <a:cubicBezTo>
                  <a:pt x="2262769" y="3770388"/>
                  <a:pt x="2262769" y="3769436"/>
                  <a:pt x="2263721" y="3765625"/>
                </a:cubicBezTo>
                <a:cubicBezTo>
                  <a:pt x="2265626" y="3761815"/>
                  <a:pt x="2268484" y="3757053"/>
                  <a:pt x="2273246" y="3758958"/>
                </a:cubicBezTo>
                <a:cubicBezTo>
                  <a:pt x="2278009" y="3759911"/>
                  <a:pt x="2277056" y="3762768"/>
                  <a:pt x="2278961" y="3763721"/>
                </a:cubicBezTo>
                <a:cubicBezTo>
                  <a:pt x="2283724" y="3766578"/>
                  <a:pt x="2287534" y="3763721"/>
                  <a:pt x="2290391" y="3758958"/>
                </a:cubicBezTo>
                <a:cubicBezTo>
                  <a:pt x="2292296" y="3756100"/>
                  <a:pt x="2292296" y="3754196"/>
                  <a:pt x="2290391" y="3751338"/>
                </a:cubicBezTo>
                <a:cubicBezTo>
                  <a:pt x="2288486" y="3747528"/>
                  <a:pt x="2283724" y="3746575"/>
                  <a:pt x="2282771" y="3742765"/>
                </a:cubicBezTo>
                <a:cubicBezTo>
                  <a:pt x="2280866" y="3738003"/>
                  <a:pt x="2280866" y="3735146"/>
                  <a:pt x="2279914" y="3730383"/>
                </a:cubicBezTo>
                <a:cubicBezTo>
                  <a:pt x="2279914" y="3728478"/>
                  <a:pt x="2279914" y="3726573"/>
                  <a:pt x="2278961" y="3724668"/>
                </a:cubicBezTo>
                <a:cubicBezTo>
                  <a:pt x="2275151" y="3716096"/>
                  <a:pt x="2280866" y="3717048"/>
                  <a:pt x="2285629" y="3718000"/>
                </a:cubicBezTo>
                <a:cubicBezTo>
                  <a:pt x="2288486" y="3718953"/>
                  <a:pt x="2289439" y="3718953"/>
                  <a:pt x="2290391" y="3721811"/>
                </a:cubicBezTo>
                <a:cubicBezTo>
                  <a:pt x="2291344" y="3725621"/>
                  <a:pt x="2292296" y="3726573"/>
                  <a:pt x="2295154" y="3724668"/>
                </a:cubicBezTo>
                <a:cubicBezTo>
                  <a:pt x="2298964" y="3721811"/>
                  <a:pt x="2299916" y="3718000"/>
                  <a:pt x="2298964" y="3713238"/>
                </a:cubicBezTo>
                <a:cubicBezTo>
                  <a:pt x="2297059" y="3706571"/>
                  <a:pt x="2290391" y="3706571"/>
                  <a:pt x="2298011" y="3697998"/>
                </a:cubicBezTo>
                <a:cubicBezTo>
                  <a:pt x="2299916" y="3696093"/>
                  <a:pt x="2303726" y="3688473"/>
                  <a:pt x="2305631" y="3685615"/>
                </a:cubicBezTo>
                <a:cubicBezTo>
                  <a:pt x="2307536" y="3681806"/>
                  <a:pt x="2308489" y="3675138"/>
                  <a:pt x="2308489" y="3672281"/>
                </a:cubicBezTo>
                <a:cubicBezTo>
                  <a:pt x="2308489" y="3670375"/>
                  <a:pt x="2308489" y="3666565"/>
                  <a:pt x="2309441" y="3664661"/>
                </a:cubicBezTo>
                <a:cubicBezTo>
                  <a:pt x="2311346" y="3659898"/>
                  <a:pt x="2311346" y="3655136"/>
                  <a:pt x="2311346" y="3649421"/>
                </a:cubicBezTo>
                <a:cubicBezTo>
                  <a:pt x="2310394" y="3647515"/>
                  <a:pt x="2310394" y="3643706"/>
                  <a:pt x="2311346" y="3640848"/>
                </a:cubicBezTo>
                <a:cubicBezTo>
                  <a:pt x="2312299" y="3637990"/>
                  <a:pt x="2312299" y="3631323"/>
                  <a:pt x="2311346" y="3627513"/>
                </a:cubicBezTo>
                <a:cubicBezTo>
                  <a:pt x="2310394" y="3624656"/>
                  <a:pt x="2313251" y="3616083"/>
                  <a:pt x="2313251" y="3612273"/>
                </a:cubicBezTo>
                <a:cubicBezTo>
                  <a:pt x="2313251" y="3611321"/>
                  <a:pt x="2314204" y="3609415"/>
                  <a:pt x="2315156" y="3606558"/>
                </a:cubicBezTo>
                <a:cubicBezTo>
                  <a:pt x="2317061" y="3603700"/>
                  <a:pt x="2317061" y="3600843"/>
                  <a:pt x="2312299" y="3597033"/>
                </a:cubicBezTo>
                <a:cubicBezTo>
                  <a:pt x="2308489" y="3593223"/>
                  <a:pt x="2309441" y="3586556"/>
                  <a:pt x="2309441" y="3586556"/>
                </a:cubicBezTo>
                <a:cubicBezTo>
                  <a:pt x="2310394" y="3578936"/>
                  <a:pt x="2314204" y="3574173"/>
                  <a:pt x="2315156" y="3568458"/>
                </a:cubicBezTo>
                <a:cubicBezTo>
                  <a:pt x="2316109" y="3564648"/>
                  <a:pt x="2313251" y="3550361"/>
                  <a:pt x="2313251" y="3550361"/>
                </a:cubicBezTo>
                <a:cubicBezTo>
                  <a:pt x="2313251" y="3544646"/>
                  <a:pt x="2312299" y="3538931"/>
                  <a:pt x="2313251" y="3533215"/>
                </a:cubicBezTo>
                <a:cubicBezTo>
                  <a:pt x="2314204" y="3528453"/>
                  <a:pt x="2315156" y="3528453"/>
                  <a:pt x="2312299" y="3525596"/>
                </a:cubicBezTo>
                <a:cubicBezTo>
                  <a:pt x="2307536" y="3520833"/>
                  <a:pt x="2306584" y="3530358"/>
                  <a:pt x="2301821" y="3521786"/>
                </a:cubicBezTo>
                <a:cubicBezTo>
                  <a:pt x="2300869" y="3518928"/>
                  <a:pt x="2298964" y="3517023"/>
                  <a:pt x="2297059" y="3517023"/>
                </a:cubicBezTo>
                <a:cubicBezTo>
                  <a:pt x="2295154" y="3516071"/>
                  <a:pt x="2292296" y="3516071"/>
                  <a:pt x="2290391" y="3515118"/>
                </a:cubicBezTo>
                <a:cubicBezTo>
                  <a:pt x="2285629" y="3513213"/>
                  <a:pt x="2285629" y="3517023"/>
                  <a:pt x="2285629" y="3523690"/>
                </a:cubicBezTo>
                <a:cubicBezTo>
                  <a:pt x="2285629" y="3526548"/>
                  <a:pt x="2283724" y="3529406"/>
                  <a:pt x="2282771" y="3530358"/>
                </a:cubicBezTo>
                <a:cubicBezTo>
                  <a:pt x="2280866" y="3532263"/>
                  <a:pt x="2277056" y="3532263"/>
                  <a:pt x="2274199" y="3531311"/>
                </a:cubicBezTo>
                <a:cubicBezTo>
                  <a:pt x="2271341" y="3531311"/>
                  <a:pt x="2269436" y="3529406"/>
                  <a:pt x="2268484" y="3526548"/>
                </a:cubicBezTo>
                <a:cubicBezTo>
                  <a:pt x="2267531" y="3524643"/>
                  <a:pt x="2267531" y="3522738"/>
                  <a:pt x="2267531" y="3519881"/>
                </a:cubicBezTo>
                <a:cubicBezTo>
                  <a:pt x="2267531" y="3513213"/>
                  <a:pt x="2263721" y="3505593"/>
                  <a:pt x="2263721" y="3505593"/>
                </a:cubicBezTo>
                <a:cubicBezTo>
                  <a:pt x="2262769" y="3502736"/>
                  <a:pt x="2262769" y="3499878"/>
                  <a:pt x="2262769" y="3496068"/>
                </a:cubicBezTo>
                <a:cubicBezTo>
                  <a:pt x="2262769" y="3492258"/>
                  <a:pt x="2262769" y="3488448"/>
                  <a:pt x="2260864" y="3486543"/>
                </a:cubicBezTo>
                <a:cubicBezTo>
                  <a:pt x="2259911" y="3484638"/>
                  <a:pt x="2260864" y="3478923"/>
                  <a:pt x="2259911" y="3476065"/>
                </a:cubicBezTo>
                <a:cubicBezTo>
                  <a:pt x="2259911" y="3473208"/>
                  <a:pt x="2257054" y="3470350"/>
                  <a:pt x="2255149" y="3467493"/>
                </a:cubicBezTo>
                <a:cubicBezTo>
                  <a:pt x="2253244" y="3464636"/>
                  <a:pt x="2256101" y="3457968"/>
                  <a:pt x="2256101" y="3457968"/>
                </a:cubicBezTo>
                <a:lnTo>
                  <a:pt x="2257054" y="3456063"/>
                </a:lnTo>
                <a:cubicBezTo>
                  <a:pt x="2257054" y="3454158"/>
                  <a:pt x="2258959" y="3451300"/>
                  <a:pt x="2259911" y="3447490"/>
                </a:cubicBezTo>
                <a:cubicBezTo>
                  <a:pt x="2259911" y="3443681"/>
                  <a:pt x="2254196" y="3441775"/>
                  <a:pt x="2254196" y="3441775"/>
                </a:cubicBezTo>
                <a:cubicBezTo>
                  <a:pt x="2250386" y="3441775"/>
                  <a:pt x="2242766" y="3443681"/>
                  <a:pt x="2243719" y="3437013"/>
                </a:cubicBezTo>
                <a:cubicBezTo>
                  <a:pt x="2243719" y="3433203"/>
                  <a:pt x="2240861" y="3430346"/>
                  <a:pt x="2238956" y="3427488"/>
                </a:cubicBezTo>
                <a:cubicBezTo>
                  <a:pt x="2238004" y="3426536"/>
                  <a:pt x="2236099" y="3419868"/>
                  <a:pt x="2235146" y="3417011"/>
                </a:cubicBezTo>
                <a:cubicBezTo>
                  <a:pt x="2232289" y="3411296"/>
                  <a:pt x="2231336" y="3409390"/>
                  <a:pt x="2228479" y="3414153"/>
                </a:cubicBezTo>
                <a:cubicBezTo>
                  <a:pt x="2226574" y="3418915"/>
                  <a:pt x="2223716" y="3418915"/>
                  <a:pt x="2221811" y="3417963"/>
                </a:cubicBezTo>
                <a:cubicBezTo>
                  <a:pt x="2218954" y="3416058"/>
                  <a:pt x="2217049" y="3409390"/>
                  <a:pt x="2216096" y="3406533"/>
                </a:cubicBezTo>
                <a:cubicBezTo>
                  <a:pt x="2216096" y="3404628"/>
                  <a:pt x="2215144" y="3404628"/>
                  <a:pt x="2216096" y="3399865"/>
                </a:cubicBezTo>
                <a:cubicBezTo>
                  <a:pt x="2217049" y="3396056"/>
                  <a:pt x="2209429" y="3392246"/>
                  <a:pt x="2209429" y="3392246"/>
                </a:cubicBezTo>
                <a:cubicBezTo>
                  <a:pt x="2203714" y="3390340"/>
                  <a:pt x="2204666" y="3390340"/>
                  <a:pt x="2199904" y="3391293"/>
                </a:cubicBezTo>
                <a:cubicBezTo>
                  <a:pt x="2196094" y="3392246"/>
                  <a:pt x="2194189" y="3387483"/>
                  <a:pt x="2191331" y="3393198"/>
                </a:cubicBezTo>
                <a:lnTo>
                  <a:pt x="2191331" y="3399865"/>
                </a:lnTo>
                <a:cubicBezTo>
                  <a:pt x="2191331" y="3402723"/>
                  <a:pt x="2189426" y="3410343"/>
                  <a:pt x="2189426" y="3410343"/>
                </a:cubicBezTo>
                <a:cubicBezTo>
                  <a:pt x="2189426" y="3411296"/>
                  <a:pt x="2172281" y="3421773"/>
                  <a:pt x="2171329" y="3421773"/>
                </a:cubicBezTo>
                <a:cubicBezTo>
                  <a:pt x="2169424" y="3421773"/>
                  <a:pt x="2167519" y="3424631"/>
                  <a:pt x="2169424" y="3426536"/>
                </a:cubicBezTo>
                <a:cubicBezTo>
                  <a:pt x="2171329" y="3428440"/>
                  <a:pt x="2167519" y="3432250"/>
                  <a:pt x="2167519" y="3432250"/>
                </a:cubicBezTo>
                <a:lnTo>
                  <a:pt x="2163709" y="3437013"/>
                </a:lnTo>
                <a:cubicBezTo>
                  <a:pt x="2163709" y="3437013"/>
                  <a:pt x="2162756" y="3438918"/>
                  <a:pt x="2163709" y="3441775"/>
                </a:cubicBezTo>
                <a:cubicBezTo>
                  <a:pt x="2167519" y="3450348"/>
                  <a:pt x="2171329" y="3444633"/>
                  <a:pt x="2169424" y="3454158"/>
                </a:cubicBezTo>
                <a:cubicBezTo>
                  <a:pt x="2168471" y="3457015"/>
                  <a:pt x="2168471" y="3460825"/>
                  <a:pt x="2167519" y="3461778"/>
                </a:cubicBezTo>
                <a:cubicBezTo>
                  <a:pt x="2165614" y="3468446"/>
                  <a:pt x="2169424" y="3469398"/>
                  <a:pt x="2162756" y="3469398"/>
                </a:cubicBezTo>
                <a:cubicBezTo>
                  <a:pt x="2160851" y="3469398"/>
                  <a:pt x="2158946" y="3468446"/>
                  <a:pt x="2157041" y="3466540"/>
                </a:cubicBezTo>
                <a:cubicBezTo>
                  <a:pt x="2155136" y="3464636"/>
                  <a:pt x="2154184" y="3465588"/>
                  <a:pt x="2151326" y="3467493"/>
                </a:cubicBezTo>
                <a:cubicBezTo>
                  <a:pt x="2148469" y="3469398"/>
                  <a:pt x="2138944" y="3477018"/>
                  <a:pt x="2138944" y="3477018"/>
                </a:cubicBezTo>
                <a:cubicBezTo>
                  <a:pt x="2138944" y="3477018"/>
                  <a:pt x="2134181" y="3480828"/>
                  <a:pt x="2132276" y="3482733"/>
                </a:cubicBezTo>
                <a:cubicBezTo>
                  <a:pt x="2127514" y="3487496"/>
                  <a:pt x="2126561" y="3479875"/>
                  <a:pt x="2125609" y="3477018"/>
                </a:cubicBezTo>
                <a:cubicBezTo>
                  <a:pt x="2123704" y="3472256"/>
                  <a:pt x="2121799" y="3470350"/>
                  <a:pt x="2118941" y="3467493"/>
                </a:cubicBezTo>
                <a:cubicBezTo>
                  <a:pt x="2117036" y="3465588"/>
                  <a:pt x="2116084" y="3463683"/>
                  <a:pt x="2113226" y="3460825"/>
                </a:cubicBezTo>
                <a:cubicBezTo>
                  <a:pt x="2111321" y="3457968"/>
                  <a:pt x="2111321" y="3457968"/>
                  <a:pt x="2108464" y="3458921"/>
                </a:cubicBezTo>
                <a:cubicBezTo>
                  <a:pt x="2105606" y="3459873"/>
                  <a:pt x="2104654" y="3458921"/>
                  <a:pt x="2100844" y="3457968"/>
                </a:cubicBezTo>
                <a:cubicBezTo>
                  <a:pt x="2097034" y="3457015"/>
                  <a:pt x="2097986" y="3455111"/>
                  <a:pt x="2095129" y="3450348"/>
                </a:cubicBezTo>
                <a:cubicBezTo>
                  <a:pt x="2092271" y="3446538"/>
                  <a:pt x="2089414" y="3445586"/>
                  <a:pt x="2086556" y="3444633"/>
                </a:cubicBezTo>
                <a:cubicBezTo>
                  <a:pt x="2083699" y="3443681"/>
                  <a:pt x="2079889" y="3439871"/>
                  <a:pt x="2077031" y="3435108"/>
                </a:cubicBezTo>
                <a:cubicBezTo>
                  <a:pt x="2072269" y="3428440"/>
                  <a:pt x="2068459" y="3429393"/>
                  <a:pt x="2062744" y="3428440"/>
                </a:cubicBezTo>
                <a:cubicBezTo>
                  <a:pt x="2059886" y="3428440"/>
                  <a:pt x="2057981" y="3429393"/>
                  <a:pt x="2054171" y="3424631"/>
                </a:cubicBezTo>
                <a:lnTo>
                  <a:pt x="2048456" y="3423678"/>
                </a:lnTo>
                <a:cubicBezTo>
                  <a:pt x="2048456" y="3423678"/>
                  <a:pt x="2041789" y="3423678"/>
                  <a:pt x="2039884" y="3422725"/>
                </a:cubicBezTo>
                <a:cubicBezTo>
                  <a:pt x="2037979" y="3421773"/>
                  <a:pt x="2041789" y="3416058"/>
                  <a:pt x="2041789" y="3411296"/>
                </a:cubicBezTo>
                <a:cubicBezTo>
                  <a:pt x="2042741" y="3403675"/>
                  <a:pt x="2039884" y="3402723"/>
                  <a:pt x="2035121" y="3401771"/>
                </a:cubicBezTo>
                <a:cubicBezTo>
                  <a:pt x="2032264" y="3400818"/>
                  <a:pt x="2027501" y="3401771"/>
                  <a:pt x="2023691" y="3401771"/>
                </a:cubicBezTo>
                <a:cubicBezTo>
                  <a:pt x="2021786" y="3401771"/>
                  <a:pt x="2017976" y="3402723"/>
                  <a:pt x="2015119" y="3402723"/>
                </a:cubicBezTo>
                <a:cubicBezTo>
                  <a:pt x="2011309" y="3403675"/>
                  <a:pt x="2009404" y="3402723"/>
                  <a:pt x="2006546" y="3400818"/>
                </a:cubicBezTo>
                <a:lnTo>
                  <a:pt x="2000831" y="3397008"/>
                </a:lnTo>
                <a:cubicBezTo>
                  <a:pt x="1994164" y="3394150"/>
                  <a:pt x="1988449" y="3397961"/>
                  <a:pt x="1984639" y="3397008"/>
                </a:cubicBezTo>
                <a:cubicBezTo>
                  <a:pt x="1981781" y="3396056"/>
                  <a:pt x="1983686" y="3388436"/>
                  <a:pt x="1979876" y="3388436"/>
                </a:cubicBezTo>
                <a:cubicBezTo>
                  <a:pt x="1975114" y="3389388"/>
                  <a:pt x="1970351" y="3390340"/>
                  <a:pt x="1967494" y="3391293"/>
                </a:cubicBezTo>
                <a:cubicBezTo>
                  <a:pt x="1960826" y="3393198"/>
                  <a:pt x="1949396" y="3397961"/>
                  <a:pt x="1949396" y="3397961"/>
                </a:cubicBezTo>
                <a:cubicBezTo>
                  <a:pt x="1938919" y="3401771"/>
                  <a:pt x="1931299" y="3403675"/>
                  <a:pt x="1927489" y="3416058"/>
                </a:cubicBezTo>
                <a:lnTo>
                  <a:pt x="1926536" y="3418915"/>
                </a:lnTo>
                <a:cubicBezTo>
                  <a:pt x="1924631" y="3424631"/>
                  <a:pt x="1921774" y="3427488"/>
                  <a:pt x="1917011" y="3428440"/>
                </a:cubicBezTo>
                <a:cubicBezTo>
                  <a:pt x="1911296" y="3430346"/>
                  <a:pt x="1904629" y="3431298"/>
                  <a:pt x="1899866" y="3433203"/>
                </a:cubicBezTo>
                <a:cubicBezTo>
                  <a:pt x="1897961" y="3434156"/>
                  <a:pt x="1890341" y="3437013"/>
                  <a:pt x="1883674" y="3438918"/>
                </a:cubicBezTo>
                <a:cubicBezTo>
                  <a:pt x="1877959" y="3440823"/>
                  <a:pt x="1872244" y="3442728"/>
                  <a:pt x="1872244" y="3442728"/>
                </a:cubicBezTo>
                <a:lnTo>
                  <a:pt x="1868434" y="3444633"/>
                </a:lnTo>
                <a:cubicBezTo>
                  <a:pt x="1865576" y="3446538"/>
                  <a:pt x="1858909" y="3448443"/>
                  <a:pt x="1853194" y="3450348"/>
                </a:cubicBezTo>
                <a:cubicBezTo>
                  <a:pt x="1847479" y="3452253"/>
                  <a:pt x="1842716" y="3454158"/>
                  <a:pt x="1842716" y="3454158"/>
                </a:cubicBezTo>
                <a:lnTo>
                  <a:pt x="1863671" y="3453206"/>
                </a:lnTo>
                <a:cubicBezTo>
                  <a:pt x="1863671" y="3453206"/>
                  <a:pt x="1857004" y="3454158"/>
                  <a:pt x="1852241" y="3456063"/>
                </a:cubicBezTo>
                <a:cubicBezTo>
                  <a:pt x="1847479" y="3457968"/>
                  <a:pt x="1841764" y="3457968"/>
                  <a:pt x="1836049" y="3457968"/>
                </a:cubicBezTo>
                <a:cubicBezTo>
                  <a:pt x="1829381" y="3457015"/>
                  <a:pt x="1823666" y="3456063"/>
                  <a:pt x="1817951" y="3456063"/>
                </a:cubicBezTo>
                <a:cubicBezTo>
                  <a:pt x="1814141" y="3456063"/>
                  <a:pt x="1807474" y="3462731"/>
                  <a:pt x="1807474" y="3462731"/>
                </a:cubicBezTo>
                <a:cubicBezTo>
                  <a:pt x="1804616" y="3467493"/>
                  <a:pt x="1799854" y="3471303"/>
                  <a:pt x="1795091" y="3475113"/>
                </a:cubicBezTo>
                <a:cubicBezTo>
                  <a:pt x="1791281" y="3477971"/>
                  <a:pt x="1787471" y="3479875"/>
                  <a:pt x="1784614" y="3483686"/>
                </a:cubicBezTo>
                <a:cubicBezTo>
                  <a:pt x="1780804" y="3485590"/>
                  <a:pt x="1766516" y="3499878"/>
                  <a:pt x="1766516" y="3499878"/>
                </a:cubicBezTo>
                <a:lnTo>
                  <a:pt x="1763659" y="3502736"/>
                </a:lnTo>
                <a:cubicBezTo>
                  <a:pt x="1761754" y="3504640"/>
                  <a:pt x="1757944" y="3510356"/>
                  <a:pt x="1757944" y="3517023"/>
                </a:cubicBezTo>
                <a:cubicBezTo>
                  <a:pt x="1756991" y="3522738"/>
                  <a:pt x="1755086" y="3523690"/>
                  <a:pt x="1755086" y="3523690"/>
                </a:cubicBezTo>
                <a:cubicBezTo>
                  <a:pt x="1750324" y="3526548"/>
                  <a:pt x="1743656" y="3526548"/>
                  <a:pt x="1737941" y="3529406"/>
                </a:cubicBezTo>
                <a:cubicBezTo>
                  <a:pt x="1733179" y="3531311"/>
                  <a:pt x="1726511" y="3531311"/>
                  <a:pt x="1726511" y="3531311"/>
                </a:cubicBezTo>
                <a:cubicBezTo>
                  <a:pt x="1721749" y="3532263"/>
                  <a:pt x="1716986" y="3531311"/>
                  <a:pt x="1712224" y="3530358"/>
                </a:cubicBezTo>
                <a:cubicBezTo>
                  <a:pt x="1708414" y="3529406"/>
                  <a:pt x="1698889" y="3530358"/>
                  <a:pt x="1698889" y="3530358"/>
                </a:cubicBezTo>
                <a:lnTo>
                  <a:pt x="1695079" y="3530358"/>
                </a:lnTo>
                <a:cubicBezTo>
                  <a:pt x="1693174" y="3530358"/>
                  <a:pt x="1686506" y="3529406"/>
                  <a:pt x="1683649" y="3529406"/>
                </a:cubicBezTo>
                <a:cubicBezTo>
                  <a:pt x="1680791" y="3529406"/>
                  <a:pt x="1669361" y="3529406"/>
                  <a:pt x="1669361" y="3529406"/>
                </a:cubicBezTo>
                <a:lnTo>
                  <a:pt x="1665551" y="3528453"/>
                </a:lnTo>
                <a:cubicBezTo>
                  <a:pt x="1662694" y="3528453"/>
                  <a:pt x="1657931" y="3526548"/>
                  <a:pt x="1653169" y="3523690"/>
                </a:cubicBezTo>
                <a:cubicBezTo>
                  <a:pt x="1648406" y="3520833"/>
                  <a:pt x="1641739" y="3520833"/>
                  <a:pt x="1641739" y="3520833"/>
                </a:cubicBezTo>
                <a:lnTo>
                  <a:pt x="1636024" y="3520833"/>
                </a:lnTo>
                <a:cubicBezTo>
                  <a:pt x="1632214" y="3519881"/>
                  <a:pt x="1624594" y="3516071"/>
                  <a:pt x="1620784" y="3512261"/>
                </a:cubicBezTo>
                <a:cubicBezTo>
                  <a:pt x="1616021" y="3509403"/>
                  <a:pt x="1609354" y="3509403"/>
                  <a:pt x="1609354" y="3509403"/>
                </a:cubicBezTo>
                <a:lnTo>
                  <a:pt x="1605544" y="3509403"/>
                </a:lnTo>
                <a:cubicBezTo>
                  <a:pt x="1600781" y="3511308"/>
                  <a:pt x="1579826" y="3512261"/>
                  <a:pt x="1579826" y="3512261"/>
                </a:cubicBezTo>
                <a:cubicBezTo>
                  <a:pt x="1574111" y="3511308"/>
                  <a:pt x="1567444" y="3511308"/>
                  <a:pt x="1561729" y="3510356"/>
                </a:cubicBezTo>
                <a:cubicBezTo>
                  <a:pt x="1553156" y="3508450"/>
                  <a:pt x="1549346" y="3514165"/>
                  <a:pt x="1552204" y="3505593"/>
                </a:cubicBezTo>
                <a:cubicBezTo>
                  <a:pt x="1554109" y="3502736"/>
                  <a:pt x="1554109" y="3493211"/>
                  <a:pt x="1553156" y="3490353"/>
                </a:cubicBezTo>
                <a:cubicBezTo>
                  <a:pt x="1552204" y="3487496"/>
                  <a:pt x="1549346" y="3484638"/>
                  <a:pt x="1549346" y="3480828"/>
                </a:cubicBezTo>
                <a:cubicBezTo>
                  <a:pt x="1547441" y="3470350"/>
                  <a:pt x="1551251" y="3463683"/>
                  <a:pt x="1554109" y="3460825"/>
                </a:cubicBezTo>
                <a:cubicBezTo>
                  <a:pt x="1558871" y="3457015"/>
                  <a:pt x="1567444" y="3453206"/>
                  <a:pt x="1561729" y="3446538"/>
                </a:cubicBezTo>
                <a:cubicBezTo>
                  <a:pt x="1558871" y="3443681"/>
                  <a:pt x="1558871" y="3437965"/>
                  <a:pt x="1557919" y="3434156"/>
                </a:cubicBezTo>
                <a:cubicBezTo>
                  <a:pt x="1556014" y="3430346"/>
                  <a:pt x="1554109" y="3427488"/>
                  <a:pt x="1552204" y="3426536"/>
                </a:cubicBezTo>
                <a:cubicBezTo>
                  <a:pt x="1548394" y="3424631"/>
                  <a:pt x="1543631" y="3423678"/>
                  <a:pt x="1536964" y="3422725"/>
                </a:cubicBezTo>
                <a:cubicBezTo>
                  <a:pt x="1533154" y="3421773"/>
                  <a:pt x="1528391" y="3421773"/>
                  <a:pt x="1523629" y="3419868"/>
                </a:cubicBezTo>
                <a:cubicBezTo>
                  <a:pt x="1519819" y="3418915"/>
                  <a:pt x="1516961" y="3417011"/>
                  <a:pt x="1514104" y="3415106"/>
                </a:cubicBezTo>
                <a:cubicBezTo>
                  <a:pt x="1511246" y="3411296"/>
                  <a:pt x="1510294" y="3407486"/>
                  <a:pt x="1511246" y="3403675"/>
                </a:cubicBezTo>
                <a:cubicBezTo>
                  <a:pt x="1512199" y="3399865"/>
                  <a:pt x="1514104" y="3396056"/>
                  <a:pt x="1515056" y="3393198"/>
                </a:cubicBezTo>
                <a:cubicBezTo>
                  <a:pt x="1516961" y="3387483"/>
                  <a:pt x="1517914" y="3379863"/>
                  <a:pt x="1517914" y="3379863"/>
                </a:cubicBezTo>
                <a:lnTo>
                  <a:pt x="1517914" y="3377006"/>
                </a:lnTo>
                <a:cubicBezTo>
                  <a:pt x="1517914" y="3372243"/>
                  <a:pt x="1515056" y="3373196"/>
                  <a:pt x="1511246" y="3372243"/>
                </a:cubicBezTo>
                <a:cubicBezTo>
                  <a:pt x="1508389" y="3371290"/>
                  <a:pt x="1511246" y="3368433"/>
                  <a:pt x="1515056" y="3368433"/>
                </a:cubicBezTo>
                <a:cubicBezTo>
                  <a:pt x="1517914" y="3368433"/>
                  <a:pt x="1518866" y="3365575"/>
                  <a:pt x="1517914" y="3363671"/>
                </a:cubicBezTo>
                <a:cubicBezTo>
                  <a:pt x="1516961" y="3361765"/>
                  <a:pt x="1512199" y="3360813"/>
                  <a:pt x="1509341" y="3357956"/>
                </a:cubicBezTo>
                <a:cubicBezTo>
                  <a:pt x="1503626" y="3356050"/>
                  <a:pt x="1496959" y="3340811"/>
                  <a:pt x="1496959" y="3340811"/>
                </a:cubicBezTo>
                <a:lnTo>
                  <a:pt x="1496006" y="3338906"/>
                </a:lnTo>
                <a:cubicBezTo>
                  <a:pt x="1494101" y="3337000"/>
                  <a:pt x="1494101" y="3337000"/>
                  <a:pt x="1489339" y="3337000"/>
                </a:cubicBezTo>
                <a:cubicBezTo>
                  <a:pt x="1484576" y="3336048"/>
                  <a:pt x="1482671" y="3341763"/>
                  <a:pt x="1482671" y="3341763"/>
                </a:cubicBezTo>
                <a:cubicBezTo>
                  <a:pt x="1481719" y="3346525"/>
                  <a:pt x="1477909" y="3345573"/>
                  <a:pt x="1475051" y="3343668"/>
                </a:cubicBezTo>
                <a:cubicBezTo>
                  <a:pt x="1471241" y="3341763"/>
                  <a:pt x="1468384" y="3339858"/>
                  <a:pt x="1467431" y="3344621"/>
                </a:cubicBezTo>
                <a:cubicBezTo>
                  <a:pt x="1466479" y="3347478"/>
                  <a:pt x="1464574" y="3355098"/>
                  <a:pt x="1460764" y="3351288"/>
                </a:cubicBezTo>
                <a:cubicBezTo>
                  <a:pt x="1458859" y="3349383"/>
                  <a:pt x="1447429" y="3343668"/>
                  <a:pt x="1447429" y="3343668"/>
                </a:cubicBezTo>
                <a:cubicBezTo>
                  <a:pt x="1440761" y="3338906"/>
                  <a:pt x="1435046" y="3335096"/>
                  <a:pt x="1428379" y="3329381"/>
                </a:cubicBezTo>
                <a:lnTo>
                  <a:pt x="1427426" y="3327475"/>
                </a:lnTo>
                <a:cubicBezTo>
                  <a:pt x="1425521" y="3323665"/>
                  <a:pt x="1418854" y="3316046"/>
                  <a:pt x="1415044" y="3318903"/>
                </a:cubicBezTo>
                <a:cubicBezTo>
                  <a:pt x="1411234" y="3320808"/>
                  <a:pt x="1407424" y="3320808"/>
                  <a:pt x="1403614" y="3318903"/>
                </a:cubicBezTo>
                <a:cubicBezTo>
                  <a:pt x="1399804" y="3316046"/>
                  <a:pt x="1395041" y="3316998"/>
                  <a:pt x="1392184" y="3313188"/>
                </a:cubicBezTo>
                <a:cubicBezTo>
                  <a:pt x="1389326" y="3309378"/>
                  <a:pt x="1383611" y="3311283"/>
                  <a:pt x="1380754" y="3306521"/>
                </a:cubicBezTo>
                <a:cubicBezTo>
                  <a:pt x="1379801" y="3305568"/>
                  <a:pt x="1378849" y="3304615"/>
                  <a:pt x="1375039" y="3299853"/>
                </a:cubicBezTo>
                <a:cubicBezTo>
                  <a:pt x="1370276" y="3293186"/>
                  <a:pt x="1363609" y="3299853"/>
                  <a:pt x="1362656" y="3293186"/>
                </a:cubicBezTo>
                <a:cubicBezTo>
                  <a:pt x="1357894" y="3286518"/>
                  <a:pt x="1355989" y="3290328"/>
                  <a:pt x="1355989" y="3293186"/>
                </a:cubicBezTo>
                <a:cubicBezTo>
                  <a:pt x="1355989" y="3296043"/>
                  <a:pt x="1354084" y="3296043"/>
                  <a:pt x="1352179" y="3294138"/>
                </a:cubicBezTo>
                <a:cubicBezTo>
                  <a:pt x="1346464" y="3290328"/>
                  <a:pt x="1344559" y="3296043"/>
                  <a:pt x="1340749" y="3289375"/>
                </a:cubicBezTo>
                <a:cubicBezTo>
                  <a:pt x="1339796" y="3287471"/>
                  <a:pt x="1334081" y="3282708"/>
                  <a:pt x="1331224" y="3281756"/>
                </a:cubicBezTo>
                <a:cubicBezTo>
                  <a:pt x="1325509" y="3280803"/>
                  <a:pt x="1326461" y="3274136"/>
                  <a:pt x="1318841" y="3274136"/>
                </a:cubicBezTo>
                <a:cubicBezTo>
                  <a:pt x="1316936" y="3274136"/>
                  <a:pt x="1314079" y="3276040"/>
                  <a:pt x="1313126" y="3278898"/>
                </a:cubicBezTo>
                <a:cubicBezTo>
                  <a:pt x="1312174" y="3281756"/>
                  <a:pt x="1309316" y="3282708"/>
                  <a:pt x="1306459" y="3280803"/>
                </a:cubicBezTo>
                <a:cubicBezTo>
                  <a:pt x="1304554" y="3279850"/>
                  <a:pt x="1295029" y="3280803"/>
                  <a:pt x="1295029" y="3280803"/>
                </a:cubicBezTo>
                <a:cubicBezTo>
                  <a:pt x="1293124" y="3280803"/>
                  <a:pt x="1289314" y="3282708"/>
                  <a:pt x="1286456" y="3284613"/>
                </a:cubicBezTo>
                <a:cubicBezTo>
                  <a:pt x="1281694" y="3286518"/>
                  <a:pt x="1275026" y="3293186"/>
                  <a:pt x="1272169" y="3298900"/>
                </a:cubicBezTo>
                <a:cubicBezTo>
                  <a:pt x="1269311" y="3304615"/>
                  <a:pt x="1250261" y="3315093"/>
                  <a:pt x="1250261" y="3315093"/>
                </a:cubicBezTo>
                <a:cubicBezTo>
                  <a:pt x="1248356" y="3315093"/>
                  <a:pt x="1235974" y="3325571"/>
                  <a:pt x="1230259" y="3334143"/>
                </a:cubicBezTo>
                <a:cubicBezTo>
                  <a:pt x="1227401" y="3338906"/>
                  <a:pt x="1227401" y="3340811"/>
                  <a:pt x="1227401" y="3344621"/>
                </a:cubicBezTo>
                <a:cubicBezTo>
                  <a:pt x="1226449" y="3352240"/>
                  <a:pt x="1216924" y="3353193"/>
                  <a:pt x="1218829" y="3360813"/>
                </a:cubicBezTo>
                <a:cubicBezTo>
                  <a:pt x="1219781" y="3363671"/>
                  <a:pt x="1228354" y="3377006"/>
                  <a:pt x="1218829" y="3378911"/>
                </a:cubicBezTo>
                <a:cubicBezTo>
                  <a:pt x="1215971" y="3378911"/>
                  <a:pt x="1210256" y="3382721"/>
                  <a:pt x="1210256" y="3382721"/>
                </a:cubicBezTo>
                <a:lnTo>
                  <a:pt x="1208351" y="3383673"/>
                </a:lnTo>
                <a:cubicBezTo>
                  <a:pt x="1204541" y="3386531"/>
                  <a:pt x="1198826" y="3385578"/>
                  <a:pt x="1195016" y="3383673"/>
                </a:cubicBezTo>
                <a:cubicBezTo>
                  <a:pt x="1191206" y="3380815"/>
                  <a:pt x="1190254" y="3371290"/>
                  <a:pt x="1187396" y="3366528"/>
                </a:cubicBezTo>
                <a:cubicBezTo>
                  <a:pt x="1186444" y="3364623"/>
                  <a:pt x="1185491" y="3363671"/>
                  <a:pt x="1185491" y="3363671"/>
                </a:cubicBezTo>
                <a:lnTo>
                  <a:pt x="1184539" y="3361765"/>
                </a:lnTo>
                <a:cubicBezTo>
                  <a:pt x="1181681" y="3354146"/>
                  <a:pt x="1178824" y="3356050"/>
                  <a:pt x="1181681" y="3345573"/>
                </a:cubicBezTo>
                <a:cubicBezTo>
                  <a:pt x="1182634" y="3340811"/>
                  <a:pt x="1184539" y="3336048"/>
                  <a:pt x="1186444" y="3334143"/>
                </a:cubicBezTo>
                <a:cubicBezTo>
                  <a:pt x="1190254" y="3331286"/>
                  <a:pt x="1193111" y="3323665"/>
                  <a:pt x="1193111" y="3323665"/>
                </a:cubicBezTo>
                <a:cubicBezTo>
                  <a:pt x="1197874" y="3316046"/>
                  <a:pt x="1200731" y="3310331"/>
                  <a:pt x="1200731" y="3300806"/>
                </a:cubicBezTo>
                <a:cubicBezTo>
                  <a:pt x="1201684" y="3295090"/>
                  <a:pt x="1199779" y="3290328"/>
                  <a:pt x="1198826" y="3283661"/>
                </a:cubicBezTo>
                <a:cubicBezTo>
                  <a:pt x="1197874" y="3278898"/>
                  <a:pt x="1199779" y="3276993"/>
                  <a:pt x="1195969" y="3274136"/>
                </a:cubicBezTo>
                <a:cubicBezTo>
                  <a:pt x="1195016" y="3272231"/>
                  <a:pt x="1193111" y="3269373"/>
                  <a:pt x="1188349" y="3268421"/>
                </a:cubicBezTo>
                <a:cubicBezTo>
                  <a:pt x="1180729" y="3267468"/>
                  <a:pt x="1184539" y="3258896"/>
                  <a:pt x="1178824" y="3263658"/>
                </a:cubicBezTo>
                <a:cubicBezTo>
                  <a:pt x="1176919" y="3263658"/>
                  <a:pt x="1173109" y="3264611"/>
                  <a:pt x="1172156" y="3267468"/>
                </a:cubicBezTo>
                <a:cubicBezTo>
                  <a:pt x="1171204" y="3270325"/>
                  <a:pt x="1169299" y="3270325"/>
                  <a:pt x="1166441" y="3269373"/>
                </a:cubicBezTo>
                <a:cubicBezTo>
                  <a:pt x="1163584" y="3268421"/>
                  <a:pt x="1158821" y="3270325"/>
                  <a:pt x="1158821" y="3270325"/>
                </a:cubicBezTo>
                <a:lnTo>
                  <a:pt x="1155964" y="3271278"/>
                </a:lnTo>
                <a:cubicBezTo>
                  <a:pt x="1153106" y="3274136"/>
                  <a:pt x="1149296" y="3275088"/>
                  <a:pt x="1145486" y="3275088"/>
                </a:cubicBezTo>
                <a:cubicBezTo>
                  <a:pt x="1141676" y="3274136"/>
                  <a:pt x="1137866" y="3278898"/>
                  <a:pt x="1137866" y="3278898"/>
                </a:cubicBezTo>
                <a:lnTo>
                  <a:pt x="1135961" y="3280803"/>
                </a:lnTo>
                <a:cubicBezTo>
                  <a:pt x="1133104" y="3283661"/>
                  <a:pt x="1132151" y="3278898"/>
                  <a:pt x="1129294" y="3279850"/>
                </a:cubicBezTo>
                <a:cubicBezTo>
                  <a:pt x="1126436" y="3280803"/>
                  <a:pt x="1126436" y="3279850"/>
                  <a:pt x="1122626" y="3276993"/>
                </a:cubicBezTo>
                <a:cubicBezTo>
                  <a:pt x="1116911" y="3273183"/>
                  <a:pt x="1118816" y="3284613"/>
                  <a:pt x="1113101" y="3280803"/>
                </a:cubicBezTo>
                <a:cubicBezTo>
                  <a:pt x="1111196" y="3279850"/>
                  <a:pt x="1106434" y="3276993"/>
                  <a:pt x="1102624" y="3276993"/>
                </a:cubicBezTo>
                <a:cubicBezTo>
                  <a:pt x="1098814" y="3276993"/>
                  <a:pt x="1094051" y="3274136"/>
                  <a:pt x="1094051" y="3274136"/>
                </a:cubicBezTo>
                <a:lnTo>
                  <a:pt x="1091194" y="3273183"/>
                </a:lnTo>
                <a:cubicBezTo>
                  <a:pt x="1087384" y="3273183"/>
                  <a:pt x="1087384" y="3273183"/>
                  <a:pt x="1087384" y="3269373"/>
                </a:cubicBezTo>
                <a:cubicBezTo>
                  <a:pt x="1087384" y="3265563"/>
                  <a:pt x="1085479" y="3264611"/>
                  <a:pt x="1083574" y="3266515"/>
                </a:cubicBezTo>
                <a:cubicBezTo>
                  <a:pt x="1081669" y="3268421"/>
                  <a:pt x="1075954" y="3273183"/>
                  <a:pt x="1075954" y="3273183"/>
                </a:cubicBezTo>
                <a:lnTo>
                  <a:pt x="1072144" y="3276993"/>
                </a:lnTo>
                <a:cubicBezTo>
                  <a:pt x="1071191" y="3278898"/>
                  <a:pt x="1068334" y="3281756"/>
                  <a:pt x="1064524" y="3282708"/>
                </a:cubicBezTo>
                <a:cubicBezTo>
                  <a:pt x="1060714" y="3283661"/>
                  <a:pt x="1062619" y="3276040"/>
                  <a:pt x="1058809" y="3277946"/>
                </a:cubicBezTo>
                <a:cubicBezTo>
                  <a:pt x="1054999" y="3279850"/>
                  <a:pt x="1053094" y="3271278"/>
                  <a:pt x="1048331" y="3270325"/>
                </a:cubicBezTo>
                <a:cubicBezTo>
                  <a:pt x="1045474" y="3268421"/>
                  <a:pt x="1044521" y="3268421"/>
                  <a:pt x="1042616" y="3270325"/>
                </a:cubicBezTo>
                <a:cubicBezTo>
                  <a:pt x="1038806" y="3274136"/>
                  <a:pt x="1034996" y="3273183"/>
                  <a:pt x="1033091" y="3270325"/>
                </a:cubicBezTo>
                <a:cubicBezTo>
                  <a:pt x="1031186" y="3267468"/>
                  <a:pt x="1033091" y="3266515"/>
                  <a:pt x="1031186" y="3267468"/>
                </a:cubicBezTo>
                <a:cubicBezTo>
                  <a:pt x="1030234" y="3267468"/>
                  <a:pt x="1028329" y="3267468"/>
                  <a:pt x="1026424" y="3268421"/>
                </a:cubicBezTo>
                <a:cubicBezTo>
                  <a:pt x="1024519" y="3268421"/>
                  <a:pt x="1022614" y="3269373"/>
                  <a:pt x="1020709" y="3267468"/>
                </a:cubicBezTo>
                <a:cubicBezTo>
                  <a:pt x="1018804" y="3265563"/>
                  <a:pt x="1017851" y="3264611"/>
                  <a:pt x="1012136" y="3265563"/>
                </a:cubicBezTo>
                <a:cubicBezTo>
                  <a:pt x="1009279" y="3265563"/>
                  <a:pt x="1006421" y="3264611"/>
                  <a:pt x="1003564" y="3263658"/>
                </a:cubicBezTo>
                <a:cubicBezTo>
                  <a:pt x="998801" y="3261753"/>
                  <a:pt x="998801" y="3259848"/>
                  <a:pt x="996896" y="3255086"/>
                </a:cubicBezTo>
                <a:cubicBezTo>
                  <a:pt x="994039" y="3246513"/>
                  <a:pt x="992134" y="3243656"/>
                  <a:pt x="988324" y="3243656"/>
                </a:cubicBezTo>
                <a:cubicBezTo>
                  <a:pt x="984514" y="3244608"/>
                  <a:pt x="982609" y="3242703"/>
                  <a:pt x="982609" y="3242703"/>
                </a:cubicBezTo>
                <a:lnTo>
                  <a:pt x="979751" y="3236988"/>
                </a:lnTo>
                <a:cubicBezTo>
                  <a:pt x="978799" y="3234131"/>
                  <a:pt x="976894" y="3232225"/>
                  <a:pt x="974989" y="3231273"/>
                </a:cubicBezTo>
                <a:cubicBezTo>
                  <a:pt x="973084" y="3229368"/>
                  <a:pt x="972131" y="3229368"/>
                  <a:pt x="969274" y="3229368"/>
                </a:cubicBezTo>
                <a:cubicBezTo>
                  <a:pt x="963559" y="3229368"/>
                  <a:pt x="968321" y="3216033"/>
                  <a:pt x="957844" y="3216033"/>
                </a:cubicBezTo>
                <a:cubicBezTo>
                  <a:pt x="954986" y="3217938"/>
                  <a:pt x="950224" y="3218890"/>
                  <a:pt x="946414" y="3213175"/>
                </a:cubicBezTo>
                <a:cubicBezTo>
                  <a:pt x="944509" y="3210318"/>
                  <a:pt x="942604" y="3209365"/>
                  <a:pt x="942604" y="3210318"/>
                </a:cubicBezTo>
                <a:cubicBezTo>
                  <a:pt x="941651" y="3211271"/>
                  <a:pt x="940699" y="3215081"/>
                  <a:pt x="939746" y="3216986"/>
                </a:cubicBezTo>
                <a:cubicBezTo>
                  <a:pt x="937841" y="3220796"/>
                  <a:pt x="936889" y="3222700"/>
                  <a:pt x="935936" y="3224606"/>
                </a:cubicBezTo>
                <a:cubicBezTo>
                  <a:pt x="934984" y="3226511"/>
                  <a:pt x="933079" y="3228415"/>
                  <a:pt x="930221" y="3231273"/>
                </a:cubicBezTo>
                <a:cubicBezTo>
                  <a:pt x="927364" y="3234131"/>
                  <a:pt x="923554" y="3232225"/>
                  <a:pt x="919744" y="3229368"/>
                </a:cubicBezTo>
                <a:cubicBezTo>
                  <a:pt x="917839" y="3227463"/>
                  <a:pt x="914981" y="3225558"/>
                  <a:pt x="913076" y="3224606"/>
                </a:cubicBezTo>
                <a:cubicBezTo>
                  <a:pt x="910219" y="3222700"/>
                  <a:pt x="906409" y="3220796"/>
                  <a:pt x="903551" y="3218890"/>
                </a:cubicBezTo>
                <a:cubicBezTo>
                  <a:pt x="900694" y="3216033"/>
                  <a:pt x="898789" y="3213175"/>
                  <a:pt x="902599" y="3207461"/>
                </a:cubicBezTo>
                <a:cubicBezTo>
                  <a:pt x="905456" y="3201746"/>
                  <a:pt x="908314" y="3198888"/>
                  <a:pt x="904504" y="3194125"/>
                </a:cubicBezTo>
                <a:cubicBezTo>
                  <a:pt x="902599" y="3193173"/>
                  <a:pt x="901646" y="3191268"/>
                  <a:pt x="899741" y="3193173"/>
                </a:cubicBezTo>
                <a:cubicBezTo>
                  <a:pt x="897836" y="3195078"/>
                  <a:pt x="896884" y="3195078"/>
                  <a:pt x="893074" y="3196983"/>
                </a:cubicBezTo>
                <a:cubicBezTo>
                  <a:pt x="890216" y="3198888"/>
                  <a:pt x="888311" y="3209365"/>
                  <a:pt x="888311" y="3209365"/>
                </a:cubicBezTo>
                <a:lnTo>
                  <a:pt x="886406" y="3218890"/>
                </a:lnTo>
                <a:cubicBezTo>
                  <a:pt x="884501" y="3225558"/>
                  <a:pt x="872119" y="3219843"/>
                  <a:pt x="869261" y="3217938"/>
                </a:cubicBezTo>
                <a:cubicBezTo>
                  <a:pt x="866404" y="3216033"/>
                  <a:pt x="872119" y="3208413"/>
                  <a:pt x="873071" y="3204603"/>
                </a:cubicBezTo>
                <a:cubicBezTo>
                  <a:pt x="874024" y="3200793"/>
                  <a:pt x="867356" y="3200793"/>
                  <a:pt x="867356" y="3197936"/>
                </a:cubicBezTo>
                <a:cubicBezTo>
                  <a:pt x="867356" y="3192221"/>
                  <a:pt x="865451" y="3185553"/>
                  <a:pt x="861641" y="3181743"/>
                </a:cubicBezTo>
                <a:cubicBezTo>
                  <a:pt x="857831" y="3177933"/>
                  <a:pt x="854974" y="3171265"/>
                  <a:pt x="854974" y="3171265"/>
                </a:cubicBezTo>
                <a:lnTo>
                  <a:pt x="854974" y="3165550"/>
                </a:lnTo>
                <a:cubicBezTo>
                  <a:pt x="854021" y="3162693"/>
                  <a:pt x="857831" y="3156978"/>
                  <a:pt x="855926" y="3153168"/>
                </a:cubicBezTo>
                <a:cubicBezTo>
                  <a:pt x="854021" y="3149358"/>
                  <a:pt x="850211" y="3152215"/>
                  <a:pt x="848306" y="3156025"/>
                </a:cubicBezTo>
                <a:cubicBezTo>
                  <a:pt x="842591" y="3166503"/>
                  <a:pt x="842591" y="3167456"/>
                  <a:pt x="837829" y="3157931"/>
                </a:cubicBezTo>
                <a:cubicBezTo>
                  <a:pt x="834971" y="3150311"/>
                  <a:pt x="827351" y="3149358"/>
                  <a:pt x="821636" y="3150311"/>
                </a:cubicBezTo>
                <a:cubicBezTo>
                  <a:pt x="814969" y="3152215"/>
                  <a:pt x="809254" y="3154121"/>
                  <a:pt x="805444" y="3147453"/>
                </a:cubicBezTo>
                <a:cubicBezTo>
                  <a:pt x="804491" y="3142690"/>
                  <a:pt x="798776" y="3139833"/>
                  <a:pt x="793061" y="3139833"/>
                </a:cubicBezTo>
                <a:cubicBezTo>
                  <a:pt x="787346" y="3139833"/>
                  <a:pt x="789251" y="3129356"/>
                  <a:pt x="789251" y="3129356"/>
                </a:cubicBezTo>
                <a:lnTo>
                  <a:pt x="790204" y="3124593"/>
                </a:lnTo>
                <a:cubicBezTo>
                  <a:pt x="791156" y="3121736"/>
                  <a:pt x="794966" y="3116973"/>
                  <a:pt x="798776" y="3115068"/>
                </a:cubicBezTo>
                <a:cubicBezTo>
                  <a:pt x="804491" y="3111258"/>
                  <a:pt x="805444" y="3106496"/>
                  <a:pt x="804491" y="3099828"/>
                </a:cubicBezTo>
                <a:cubicBezTo>
                  <a:pt x="803539" y="3097923"/>
                  <a:pt x="801634" y="3096018"/>
                  <a:pt x="797824" y="3092208"/>
                </a:cubicBezTo>
                <a:cubicBezTo>
                  <a:pt x="794014" y="3089350"/>
                  <a:pt x="784489" y="3096018"/>
                  <a:pt x="784489" y="3096018"/>
                </a:cubicBezTo>
                <a:lnTo>
                  <a:pt x="781631" y="3098875"/>
                </a:lnTo>
                <a:cubicBezTo>
                  <a:pt x="778774" y="3100781"/>
                  <a:pt x="774964" y="3098875"/>
                  <a:pt x="771154" y="3098875"/>
                </a:cubicBezTo>
                <a:cubicBezTo>
                  <a:pt x="767344" y="3098875"/>
                  <a:pt x="762581" y="3095065"/>
                  <a:pt x="762581" y="3095065"/>
                </a:cubicBezTo>
                <a:lnTo>
                  <a:pt x="758771" y="3092208"/>
                </a:lnTo>
                <a:cubicBezTo>
                  <a:pt x="753056" y="3089350"/>
                  <a:pt x="751151" y="3085540"/>
                  <a:pt x="753056" y="3081731"/>
                </a:cubicBezTo>
                <a:cubicBezTo>
                  <a:pt x="754961" y="3077921"/>
                  <a:pt x="745436" y="3072206"/>
                  <a:pt x="745436" y="3072206"/>
                </a:cubicBezTo>
                <a:cubicBezTo>
                  <a:pt x="741626" y="3069348"/>
                  <a:pt x="736864" y="3067443"/>
                  <a:pt x="733054" y="3065538"/>
                </a:cubicBezTo>
                <a:cubicBezTo>
                  <a:pt x="730196" y="3064586"/>
                  <a:pt x="727339" y="3062681"/>
                  <a:pt x="726386" y="3059823"/>
                </a:cubicBezTo>
                <a:lnTo>
                  <a:pt x="726386" y="3053156"/>
                </a:lnTo>
                <a:cubicBezTo>
                  <a:pt x="727339" y="3046488"/>
                  <a:pt x="722576" y="3044583"/>
                  <a:pt x="718766" y="3044583"/>
                </a:cubicBezTo>
                <a:cubicBezTo>
                  <a:pt x="712099" y="3043631"/>
                  <a:pt x="710194" y="3041725"/>
                  <a:pt x="708289" y="3036011"/>
                </a:cubicBezTo>
                <a:cubicBezTo>
                  <a:pt x="707336" y="3034106"/>
                  <a:pt x="709241" y="3029343"/>
                  <a:pt x="711146" y="3027438"/>
                </a:cubicBezTo>
                <a:cubicBezTo>
                  <a:pt x="713051" y="3024581"/>
                  <a:pt x="714004" y="3020771"/>
                  <a:pt x="712099" y="3017913"/>
                </a:cubicBezTo>
                <a:cubicBezTo>
                  <a:pt x="709241" y="3015056"/>
                  <a:pt x="709241" y="3007436"/>
                  <a:pt x="709241" y="3007436"/>
                </a:cubicBezTo>
                <a:cubicBezTo>
                  <a:pt x="710194" y="3003625"/>
                  <a:pt x="709241" y="2997911"/>
                  <a:pt x="712099" y="2994100"/>
                </a:cubicBezTo>
                <a:cubicBezTo>
                  <a:pt x="714004" y="2991243"/>
                  <a:pt x="714004" y="2990290"/>
                  <a:pt x="712099" y="2989338"/>
                </a:cubicBezTo>
                <a:cubicBezTo>
                  <a:pt x="710194" y="2988386"/>
                  <a:pt x="705431" y="2982671"/>
                  <a:pt x="705431" y="2982671"/>
                </a:cubicBezTo>
                <a:lnTo>
                  <a:pt x="698764" y="2978861"/>
                </a:lnTo>
                <a:cubicBezTo>
                  <a:pt x="693049" y="2976956"/>
                  <a:pt x="697811" y="2973146"/>
                  <a:pt x="690191" y="2974098"/>
                </a:cubicBezTo>
                <a:cubicBezTo>
                  <a:pt x="681619" y="2976003"/>
                  <a:pt x="679714" y="2968383"/>
                  <a:pt x="674951" y="2976956"/>
                </a:cubicBezTo>
                <a:cubicBezTo>
                  <a:pt x="673046" y="2979813"/>
                  <a:pt x="668284" y="2979813"/>
                  <a:pt x="663521" y="2977908"/>
                </a:cubicBezTo>
                <a:cubicBezTo>
                  <a:pt x="658759" y="2976003"/>
                  <a:pt x="654949" y="2981718"/>
                  <a:pt x="650186" y="2982671"/>
                </a:cubicBezTo>
                <a:cubicBezTo>
                  <a:pt x="647329" y="2983623"/>
                  <a:pt x="645424" y="2982671"/>
                  <a:pt x="642566" y="2976956"/>
                </a:cubicBezTo>
                <a:cubicBezTo>
                  <a:pt x="639709" y="2972193"/>
                  <a:pt x="637804" y="2966478"/>
                  <a:pt x="634946" y="2961715"/>
                </a:cubicBezTo>
                <a:cubicBezTo>
                  <a:pt x="633994" y="2957906"/>
                  <a:pt x="633041" y="2955048"/>
                  <a:pt x="633041" y="2950286"/>
                </a:cubicBezTo>
                <a:cubicBezTo>
                  <a:pt x="633041" y="2947428"/>
                  <a:pt x="633994" y="2944571"/>
                  <a:pt x="632089" y="2943618"/>
                </a:cubicBezTo>
                <a:cubicBezTo>
                  <a:pt x="629231" y="2940761"/>
                  <a:pt x="627326" y="2933140"/>
                  <a:pt x="624469" y="2929331"/>
                </a:cubicBezTo>
                <a:cubicBezTo>
                  <a:pt x="620659" y="2927425"/>
                  <a:pt x="623516" y="2920758"/>
                  <a:pt x="621611" y="2916948"/>
                </a:cubicBezTo>
                <a:cubicBezTo>
                  <a:pt x="619706" y="2913138"/>
                  <a:pt x="610181" y="2911233"/>
                  <a:pt x="610181" y="2911233"/>
                </a:cubicBezTo>
                <a:lnTo>
                  <a:pt x="605419" y="2909328"/>
                </a:lnTo>
                <a:cubicBezTo>
                  <a:pt x="602561" y="2908375"/>
                  <a:pt x="600656" y="2903613"/>
                  <a:pt x="598751" y="2900756"/>
                </a:cubicBezTo>
                <a:cubicBezTo>
                  <a:pt x="596846" y="2897898"/>
                  <a:pt x="584464" y="2893136"/>
                  <a:pt x="584464" y="2893136"/>
                </a:cubicBezTo>
                <a:lnTo>
                  <a:pt x="580654" y="2891231"/>
                </a:lnTo>
                <a:cubicBezTo>
                  <a:pt x="578749" y="2890278"/>
                  <a:pt x="577796" y="2888373"/>
                  <a:pt x="575891" y="2885515"/>
                </a:cubicBezTo>
                <a:cubicBezTo>
                  <a:pt x="573986" y="2882658"/>
                  <a:pt x="567319" y="2881706"/>
                  <a:pt x="566366" y="2878848"/>
                </a:cubicBezTo>
                <a:cubicBezTo>
                  <a:pt x="564461" y="2875038"/>
                  <a:pt x="569224" y="2874086"/>
                  <a:pt x="571129" y="2873133"/>
                </a:cubicBezTo>
                <a:cubicBezTo>
                  <a:pt x="573034" y="2872181"/>
                  <a:pt x="572081" y="2868371"/>
                  <a:pt x="568271" y="2867418"/>
                </a:cubicBezTo>
                <a:cubicBezTo>
                  <a:pt x="565414" y="2866465"/>
                  <a:pt x="556841" y="2869323"/>
                  <a:pt x="561604" y="2863608"/>
                </a:cubicBezTo>
                <a:cubicBezTo>
                  <a:pt x="563509" y="2861703"/>
                  <a:pt x="563509" y="2859798"/>
                  <a:pt x="561604" y="2857893"/>
                </a:cubicBezTo>
                <a:cubicBezTo>
                  <a:pt x="558746" y="2855036"/>
                  <a:pt x="555889" y="2850273"/>
                  <a:pt x="553031" y="2845511"/>
                </a:cubicBezTo>
                <a:cubicBezTo>
                  <a:pt x="550174" y="2841700"/>
                  <a:pt x="547316" y="2837890"/>
                  <a:pt x="542554" y="2835986"/>
                </a:cubicBezTo>
                <a:cubicBezTo>
                  <a:pt x="541601" y="2835033"/>
                  <a:pt x="539696" y="2835033"/>
                  <a:pt x="538744" y="2834081"/>
                </a:cubicBezTo>
                <a:cubicBezTo>
                  <a:pt x="535886" y="2833128"/>
                  <a:pt x="531124" y="2828365"/>
                  <a:pt x="531124" y="2828365"/>
                </a:cubicBezTo>
                <a:lnTo>
                  <a:pt x="526361" y="2825508"/>
                </a:lnTo>
                <a:cubicBezTo>
                  <a:pt x="518741" y="2824556"/>
                  <a:pt x="520646" y="2820746"/>
                  <a:pt x="523504" y="2815031"/>
                </a:cubicBezTo>
                <a:cubicBezTo>
                  <a:pt x="525409" y="2810268"/>
                  <a:pt x="518741" y="2805506"/>
                  <a:pt x="516836" y="2801696"/>
                </a:cubicBezTo>
                <a:cubicBezTo>
                  <a:pt x="515884" y="2798838"/>
                  <a:pt x="520646" y="2791218"/>
                  <a:pt x="520646" y="2786456"/>
                </a:cubicBezTo>
                <a:cubicBezTo>
                  <a:pt x="520646" y="2782646"/>
                  <a:pt x="511121" y="2781693"/>
                  <a:pt x="511121" y="2781693"/>
                </a:cubicBezTo>
                <a:lnTo>
                  <a:pt x="505406" y="2780740"/>
                </a:lnTo>
                <a:cubicBezTo>
                  <a:pt x="502549" y="2779788"/>
                  <a:pt x="498739" y="2775978"/>
                  <a:pt x="496834" y="2773121"/>
                </a:cubicBezTo>
                <a:cubicBezTo>
                  <a:pt x="494929" y="2771215"/>
                  <a:pt x="490166" y="2769311"/>
                  <a:pt x="487309" y="2768358"/>
                </a:cubicBezTo>
                <a:cubicBezTo>
                  <a:pt x="483499" y="2767406"/>
                  <a:pt x="483499" y="2765500"/>
                  <a:pt x="480641" y="2762643"/>
                </a:cubicBezTo>
                <a:cubicBezTo>
                  <a:pt x="476831" y="2758833"/>
                  <a:pt x="473021" y="2755023"/>
                  <a:pt x="473021" y="2755975"/>
                </a:cubicBezTo>
                <a:cubicBezTo>
                  <a:pt x="471116" y="2757881"/>
                  <a:pt x="469211" y="2758833"/>
                  <a:pt x="467306" y="2756928"/>
                </a:cubicBezTo>
                <a:cubicBezTo>
                  <a:pt x="466354" y="2755023"/>
                  <a:pt x="464449" y="2755975"/>
                  <a:pt x="463496" y="2757881"/>
                </a:cubicBezTo>
                <a:cubicBezTo>
                  <a:pt x="461591" y="2761690"/>
                  <a:pt x="459686" y="2761690"/>
                  <a:pt x="459686" y="2760738"/>
                </a:cubicBezTo>
                <a:cubicBezTo>
                  <a:pt x="456829" y="2758833"/>
                  <a:pt x="453019" y="2755023"/>
                  <a:pt x="451114" y="2752165"/>
                </a:cubicBezTo>
                <a:cubicBezTo>
                  <a:pt x="449209" y="2750261"/>
                  <a:pt x="447304" y="2752165"/>
                  <a:pt x="446351" y="2753118"/>
                </a:cubicBezTo>
                <a:cubicBezTo>
                  <a:pt x="444446" y="2756928"/>
                  <a:pt x="444446" y="2760738"/>
                  <a:pt x="443494" y="2764548"/>
                </a:cubicBezTo>
                <a:cubicBezTo>
                  <a:pt x="441589" y="2768358"/>
                  <a:pt x="439684" y="2770263"/>
                  <a:pt x="438731" y="2774073"/>
                </a:cubicBezTo>
                <a:cubicBezTo>
                  <a:pt x="437779" y="2776931"/>
                  <a:pt x="430159" y="2783598"/>
                  <a:pt x="430159" y="2783598"/>
                </a:cubicBezTo>
                <a:cubicBezTo>
                  <a:pt x="429206" y="2783598"/>
                  <a:pt x="426349" y="2779788"/>
                  <a:pt x="424444" y="2778836"/>
                </a:cubicBezTo>
                <a:cubicBezTo>
                  <a:pt x="421586" y="2777883"/>
                  <a:pt x="418729" y="2780740"/>
                  <a:pt x="420634" y="2782646"/>
                </a:cubicBezTo>
                <a:cubicBezTo>
                  <a:pt x="422539" y="2784550"/>
                  <a:pt x="422539" y="2790265"/>
                  <a:pt x="422539" y="2792171"/>
                </a:cubicBezTo>
                <a:cubicBezTo>
                  <a:pt x="422539" y="2797886"/>
                  <a:pt x="405394" y="2792171"/>
                  <a:pt x="402536" y="2791218"/>
                </a:cubicBezTo>
                <a:cubicBezTo>
                  <a:pt x="399679" y="2789313"/>
                  <a:pt x="399679" y="2782646"/>
                  <a:pt x="399679" y="2782646"/>
                </a:cubicBezTo>
                <a:cubicBezTo>
                  <a:pt x="400631" y="2776931"/>
                  <a:pt x="400631" y="2771215"/>
                  <a:pt x="400631" y="2766453"/>
                </a:cubicBezTo>
                <a:cubicBezTo>
                  <a:pt x="400631" y="2755975"/>
                  <a:pt x="391106" y="2753118"/>
                  <a:pt x="383486" y="2746450"/>
                </a:cubicBezTo>
                <a:lnTo>
                  <a:pt x="381581" y="2744546"/>
                </a:lnTo>
                <a:cubicBezTo>
                  <a:pt x="378724" y="2740736"/>
                  <a:pt x="371104" y="2732163"/>
                  <a:pt x="371104" y="2732163"/>
                </a:cubicBezTo>
                <a:cubicBezTo>
                  <a:pt x="370151" y="2731211"/>
                  <a:pt x="368246" y="2729306"/>
                  <a:pt x="367294" y="2728353"/>
                </a:cubicBezTo>
                <a:cubicBezTo>
                  <a:pt x="362531" y="2724543"/>
                  <a:pt x="367294" y="2720733"/>
                  <a:pt x="361579" y="2717875"/>
                </a:cubicBezTo>
                <a:cubicBezTo>
                  <a:pt x="357769" y="2715971"/>
                  <a:pt x="354911" y="2716923"/>
                  <a:pt x="352054" y="2715018"/>
                </a:cubicBezTo>
                <a:cubicBezTo>
                  <a:pt x="349196" y="2714065"/>
                  <a:pt x="346339" y="2708350"/>
                  <a:pt x="343481" y="2705493"/>
                </a:cubicBezTo>
                <a:cubicBezTo>
                  <a:pt x="340624" y="2702636"/>
                  <a:pt x="336814" y="2700731"/>
                  <a:pt x="336814" y="2700731"/>
                </a:cubicBezTo>
                <a:lnTo>
                  <a:pt x="334909" y="2698825"/>
                </a:lnTo>
                <a:cubicBezTo>
                  <a:pt x="333004" y="2697873"/>
                  <a:pt x="330146" y="2694063"/>
                  <a:pt x="329194" y="2690253"/>
                </a:cubicBezTo>
                <a:cubicBezTo>
                  <a:pt x="327289" y="2685490"/>
                  <a:pt x="317764" y="2687396"/>
                  <a:pt x="313001" y="2683586"/>
                </a:cubicBezTo>
                <a:cubicBezTo>
                  <a:pt x="310144" y="2682633"/>
                  <a:pt x="308239" y="2680728"/>
                  <a:pt x="308239" y="2677871"/>
                </a:cubicBezTo>
                <a:cubicBezTo>
                  <a:pt x="307286" y="2675013"/>
                  <a:pt x="308239" y="2673108"/>
                  <a:pt x="305381" y="2670250"/>
                </a:cubicBezTo>
                <a:cubicBezTo>
                  <a:pt x="303476" y="2668346"/>
                  <a:pt x="304429" y="2664536"/>
                  <a:pt x="304429" y="2660725"/>
                </a:cubicBezTo>
                <a:lnTo>
                  <a:pt x="304429" y="2658821"/>
                </a:lnTo>
                <a:cubicBezTo>
                  <a:pt x="304429" y="2655011"/>
                  <a:pt x="303476" y="2653106"/>
                  <a:pt x="303476" y="2652153"/>
                </a:cubicBezTo>
                <a:cubicBezTo>
                  <a:pt x="302524" y="2650248"/>
                  <a:pt x="301571" y="2649296"/>
                  <a:pt x="299666" y="2645486"/>
                </a:cubicBezTo>
                <a:cubicBezTo>
                  <a:pt x="298714" y="2642628"/>
                  <a:pt x="296809" y="2638818"/>
                  <a:pt x="295856" y="2635008"/>
                </a:cubicBezTo>
                <a:cubicBezTo>
                  <a:pt x="294904" y="2632150"/>
                  <a:pt x="292999" y="2628340"/>
                  <a:pt x="292046" y="2626436"/>
                </a:cubicBezTo>
                <a:cubicBezTo>
                  <a:pt x="289189" y="2622625"/>
                  <a:pt x="287284" y="2619768"/>
                  <a:pt x="284426" y="2618815"/>
                </a:cubicBezTo>
                <a:cubicBezTo>
                  <a:pt x="278711" y="2616911"/>
                  <a:pt x="275854" y="2622625"/>
                  <a:pt x="271091" y="2616911"/>
                </a:cubicBezTo>
                <a:cubicBezTo>
                  <a:pt x="268234" y="2615958"/>
                  <a:pt x="267281" y="2612148"/>
                  <a:pt x="265376" y="2608338"/>
                </a:cubicBezTo>
                <a:cubicBezTo>
                  <a:pt x="263471" y="2604528"/>
                  <a:pt x="260614" y="2599765"/>
                  <a:pt x="254899" y="2598813"/>
                </a:cubicBezTo>
                <a:cubicBezTo>
                  <a:pt x="251089" y="2597861"/>
                  <a:pt x="246326" y="2598813"/>
                  <a:pt x="247279" y="2604528"/>
                </a:cubicBezTo>
                <a:cubicBezTo>
                  <a:pt x="249184" y="2607386"/>
                  <a:pt x="244421" y="2607386"/>
                  <a:pt x="241564" y="2606433"/>
                </a:cubicBezTo>
                <a:cubicBezTo>
                  <a:pt x="236801" y="2605481"/>
                  <a:pt x="233944" y="2604528"/>
                  <a:pt x="234896" y="2599765"/>
                </a:cubicBezTo>
                <a:cubicBezTo>
                  <a:pt x="234896" y="2595956"/>
                  <a:pt x="234896" y="2595003"/>
                  <a:pt x="228229" y="2595003"/>
                </a:cubicBezTo>
                <a:cubicBezTo>
                  <a:pt x="220609" y="2595003"/>
                  <a:pt x="216799" y="2589288"/>
                  <a:pt x="215846" y="2583573"/>
                </a:cubicBezTo>
                <a:cubicBezTo>
                  <a:pt x="215846" y="2581668"/>
                  <a:pt x="215846" y="2575000"/>
                  <a:pt x="214894" y="2570238"/>
                </a:cubicBezTo>
                <a:cubicBezTo>
                  <a:pt x="213941" y="2562618"/>
                  <a:pt x="216799" y="2561665"/>
                  <a:pt x="212989" y="2554998"/>
                </a:cubicBezTo>
                <a:cubicBezTo>
                  <a:pt x="211084" y="2553093"/>
                  <a:pt x="211084" y="2553093"/>
                  <a:pt x="212036" y="2550236"/>
                </a:cubicBezTo>
                <a:cubicBezTo>
                  <a:pt x="212989" y="2547378"/>
                  <a:pt x="212989" y="2547378"/>
                  <a:pt x="211084" y="2547378"/>
                </a:cubicBezTo>
                <a:cubicBezTo>
                  <a:pt x="210131" y="2547378"/>
                  <a:pt x="209179" y="2547378"/>
                  <a:pt x="207274" y="2546425"/>
                </a:cubicBezTo>
                <a:cubicBezTo>
                  <a:pt x="203464" y="2545473"/>
                  <a:pt x="201559" y="2544521"/>
                  <a:pt x="201559" y="2542615"/>
                </a:cubicBezTo>
                <a:cubicBezTo>
                  <a:pt x="200606" y="2538806"/>
                  <a:pt x="203464" y="2534043"/>
                  <a:pt x="206321" y="2530233"/>
                </a:cubicBezTo>
                <a:cubicBezTo>
                  <a:pt x="207274" y="2529281"/>
                  <a:pt x="209179" y="2526423"/>
                  <a:pt x="206321" y="2524518"/>
                </a:cubicBezTo>
                <a:cubicBezTo>
                  <a:pt x="203464" y="2522613"/>
                  <a:pt x="203464" y="2521661"/>
                  <a:pt x="204416" y="2518803"/>
                </a:cubicBezTo>
                <a:cubicBezTo>
                  <a:pt x="205369" y="2514993"/>
                  <a:pt x="212036" y="2513088"/>
                  <a:pt x="215846" y="2512136"/>
                </a:cubicBezTo>
                <a:cubicBezTo>
                  <a:pt x="219656" y="2512136"/>
                  <a:pt x="219656" y="2509278"/>
                  <a:pt x="219656" y="2504515"/>
                </a:cubicBezTo>
                <a:cubicBezTo>
                  <a:pt x="219656" y="2499753"/>
                  <a:pt x="218704" y="2499753"/>
                  <a:pt x="217751" y="2498800"/>
                </a:cubicBezTo>
                <a:cubicBezTo>
                  <a:pt x="214894" y="2496896"/>
                  <a:pt x="213941" y="2493086"/>
                  <a:pt x="213941" y="2490228"/>
                </a:cubicBezTo>
                <a:cubicBezTo>
                  <a:pt x="213941" y="2486418"/>
                  <a:pt x="211084" y="2481656"/>
                  <a:pt x="212036" y="2478798"/>
                </a:cubicBezTo>
                <a:cubicBezTo>
                  <a:pt x="212989" y="2474036"/>
                  <a:pt x="212989" y="2470225"/>
                  <a:pt x="218704" y="2469273"/>
                </a:cubicBezTo>
                <a:cubicBezTo>
                  <a:pt x="223466" y="2468321"/>
                  <a:pt x="231086" y="2465463"/>
                  <a:pt x="223466" y="2460700"/>
                </a:cubicBezTo>
                <a:lnTo>
                  <a:pt x="221561" y="2459748"/>
                </a:lnTo>
                <a:cubicBezTo>
                  <a:pt x="221561" y="2459748"/>
                  <a:pt x="214894" y="2454986"/>
                  <a:pt x="213941" y="2452128"/>
                </a:cubicBezTo>
                <a:cubicBezTo>
                  <a:pt x="212036" y="2447365"/>
                  <a:pt x="212036" y="2444508"/>
                  <a:pt x="210131" y="2441650"/>
                </a:cubicBezTo>
                <a:cubicBezTo>
                  <a:pt x="209179" y="2439746"/>
                  <a:pt x="208226" y="2437840"/>
                  <a:pt x="206321" y="2435936"/>
                </a:cubicBezTo>
                <a:cubicBezTo>
                  <a:pt x="204416" y="2434031"/>
                  <a:pt x="200606" y="2432126"/>
                  <a:pt x="201559" y="2428315"/>
                </a:cubicBezTo>
                <a:cubicBezTo>
                  <a:pt x="202511" y="2425458"/>
                  <a:pt x="203464" y="2420696"/>
                  <a:pt x="205369" y="2416885"/>
                </a:cubicBezTo>
                <a:cubicBezTo>
                  <a:pt x="207274" y="2413076"/>
                  <a:pt x="209179" y="2409265"/>
                  <a:pt x="211084" y="2406408"/>
                </a:cubicBezTo>
                <a:cubicBezTo>
                  <a:pt x="212989" y="2401646"/>
                  <a:pt x="212036" y="2397835"/>
                  <a:pt x="212989" y="2393073"/>
                </a:cubicBezTo>
                <a:cubicBezTo>
                  <a:pt x="212989" y="2393073"/>
                  <a:pt x="212989" y="2388310"/>
                  <a:pt x="212036" y="2386406"/>
                </a:cubicBezTo>
                <a:cubicBezTo>
                  <a:pt x="211084" y="2384501"/>
                  <a:pt x="211084" y="2378785"/>
                  <a:pt x="213941" y="2375928"/>
                </a:cubicBezTo>
                <a:cubicBezTo>
                  <a:pt x="217751" y="2373071"/>
                  <a:pt x="224419" y="2370213"/>
                  <a:pt x="229181" y="2371165"/>
                </a:cubicBezTo>
                <a:cubicBezTo>
                  <a:pt x="231086" y="2372118"/>
                  <a:pt x="232991" y="2371165"/>
                  <a:pt x="234896" y="2370213"/>
                </a:cubicBezTo>
                <a:cubicBezTo>
                  <a:pt x="236801" y="2368308"/>
                  <a:pt x="242516" y="2368308"/>
                  <a:pt x="246326" y="2367356"/>
                </a:cubicBezTo>
                <a:cubicBezTo>
                  <a:pt x="252041" y="2365451"/>
                  <a:pt x="252994" y="2368308"/>
                  <a:pt x="253946" y="2372118"/>
                </a:cubicBezTo>
                <a:cubicBezTo>
                  <a:pt x="254899" y="2374976"/>
                  <a:pt x="253946" y="2375928"/>
                  <a:pt x="252994" y="2378785"/>
                </a:cubicBezTo>
                <a:cubicBezTo>
                  <a:pt x="252041" y="2380690"/>
                  <a:pt x="250136" y="2384501"/>
                  <a:pt x="250136" y="2387358"/>
                </a:cubicBezTo>
                <a:cubicBezTo>
                  <a:pt x="250136" y="2392121"/>
                  <a:pt x="249184" y="2394978"/>
                  <a:pt x="249184" y="2399740"/>
                </a:cubicBezTo>
                <a:cubicBezTo>
                  <a:pt x="249184" y="2402598"/>
                  <a:pt x="248231" y="2403551"/>
                  <a:pt x="252994" y="2406408"/>
                </a:cubicBezTo>
                <a:cubicBezTo>
                  <a:pt x="257756" y="2410218"/>
                  <a:pt x="258709" y="2413076"/>
                  <a:pt x="259661" y="2414028"/>
                </a:cubicBezTo>
                <a:cubicBezTo>
                  <a:pt x="263471" y="2419743"/>
                  <a:pt x="263471" y="2417838"/>
                  <a:pt x="271091" y="2418790"/>
                </a:cubicBezTo>
                <a:cubicBezTo>
                  <a:pt x="276806" y="2419743"/>
                  <a:pt x="283474" y="2424506"/>
                  <a:pt x="283474" y="2414981"/>
                </a:cubicBezTo>
                <a:cubicBezTo>
                  <a:pt x="283474" y="2405456"/>
                  <a:pt x="288236" y="2414028"/>
                  <a:pt x="292999" y="2410218"/>
                </a:cubicBezTo>
                <a:cubicBezTo>
                  <a:pt x="294904" y="2408313"/>
                  <a:pt x="296809" y="2408313"/>
                  <a:pt x="298714" y="2408313"/>
                </a:cubicBezTo>
                <a:cubicBezTo>
                  <a:pt x="301571" y="2408313"/>
                  <a:pt x="307286" y="2403551"/>
                  <a:pt x="308239" y="2400693"/>
                </a:cubicBezTo>
                <a:lnTo>
                  <a:pt x="310144" y="2396883"/>
                </a:lnTo>
                <a:cubicBezTo>
                  <a:pt x="310144" y="2396883"/>
                  <a:pt x="310144" y="2393073"/>
                  <a:pt x="312049" y="2389263"/>
                </a:cubicBezTo>
                <a:cubicBezTo>
                  <a:pt x="313001" y="2386406"/>
                  <a:pt x="315859" y="2380690"/>
                  <a:pt x="313954" y="2377833"/>
                </a:cubicBezTo>
                <a:cubicBezTo>
                  <a:pt x="312049" y="2374976"/>
                  <a:pt x="311096" y="2372118"/>
                  <a:pt x="312049" y="2370213"/>
                </a:cubicBezTo>
                <a:cubicBezTo>
                  <a:pt x="313001" y="2366403"/>
                  <a:pt x="313001" y="2362593"/>
                  <a:pt x="314906" y="2359735"/>
                </a:cubicBezTo>
                <a:cubicBezTo>
                  <a:pt x="315859" y="2357831"/>
                  <a:pt x="313954" y="2355926"/>
                  <a:pt x="314906" y="2354021"/>
                </a:cubicBezTo>
                <a:cubicBezTo>
                  <a:pt x="314906" y="2352115"/>
                  <a:pt x="315859" y="2352115"/>
                  <a:pt x="316811" y="2349258"/>
                </a:cubicBezTo>
                <a:cubicBezTo>
                  <a:pt x="317764" y="2346401"/>
                  <a:pt x="315859" y="2344496"/>
                  <a:pt x="313954" y="2338781"/>
                </a:cubicBezTo>
                <a:cubicBezTo>
                  <a:pt x="303476" y="2330208"/>
                  <a:pt x="303476" y="2327351"/>
                  <a:pt x="305381" y="2324493"/>
                </a:cubicBezTo>
                <a:cubicBezTo>
                  <a:pt x="306334" y="2323540"/>
                  <a:pt x="307286" y="2321635"/>
                  <a:pt x="307286" y="2320683"/>
                </a:cubicBezTo>
                <a:cubicBezTo>
                  <a:pt x="307286" y="2317826"/>
                  <a:pt x="307286" y="2315921"/>
                  <a:pt x="306334" y="2311158"/>
                </a:cubicBezTo>
                <a:cubicBezTo>
                  <a:pt x="305381" y="2307348"/>
                  <a:pt x="304429" y="2304490"/>
                  <a:pt x="303476" y="2301633"/>
                </a:cubicBezTo>
                <a:cubicBezTo>
                  <a:pt x="302524" y="2298776"/>
                  <a:pt x="302524" y="2297823"/>
                  <a:pt x="301571" y="2294013"/>
                </a:cubicBezTo>
                <a:cubicBezTo>
                  <a:pt x="300619" y="2288298"/>
                  <a:pt x="296809" y="2287346"/>
                  <a:pt x="295856" y="2282583"/>
                </a:cubicBezTo>
                <a:cubicBezTo>
                  <a:pt x="293951" y="2276868"/>
                  <a:pt x="292999" y="2274963"/>
                  <a:pt x="289189" y="2270201"/>
                </a:cubicBezTo>
                <a:cubicBezTo>
                  <a:pt x="287284" y="2268296"/>
                  <a:pt x="287284" y="2267343"/>
                  <a:pt x="287284" y="2263533"/>
                </a:cubicBezTo>
                <a:cubicBezTo>
                  <a:pt x="287284" y="2260676"/>
                  <a:pt x="288236" y="2258771"/>
                  <a:pt x="285379" y="2256865"/>
                </a:cubicBezTo>
                <a:cubicBezTo>
                  <a:pt x="277759" y="2249246"/>
                  <a:pt x="292046" y="2252103"/>
                  <a:pt x="285379" y="2242578"/>
                </a:cubicBezTo>
                <a:cubicBezTo>
                  <a:pt x="283474" y="2239721"/>
                  <a:pt x="281569" y="2235910"/>
                  <a:pt x="285379" y="2234958"/>
                </a:cubicBezTo>
                <a:cubicBezTo>
                  <a:pt x="289189" y="2234006"/>
                  <a:pt x="293951" y="2234006"/>
                  <a:pt x="294904" y="2228290"/>
                </a:cubicBezTo>
                <a:cubicBezTo>
                  <a:pt x="295856" y="2223528"/>
                  <a:pt x="296809" y="2219718"/>
                  <a:pt x="297761" y="2214956"/>
                </a:cubicBezTo>
                <a:cubicBezTo>
                  <a:pt x="297761" y="2214956"/>
                  <a:pt x="298714" y="2211146"/>
                  <a:pt x="299666" y="2206383"/>
                </a:cubicBezTo>
                <a:cubicBezTo>
                  <a:pt x="300619" y="2201621"/>
                  <a:pt x="301571" y="2197810"/>
                  <a:pt x="299666" y="2194001"/>
                </a:cubicBezTo>
                <a:cubicBezTo>
                  <a:pt x="297761" y="2191143"/>
                  <a:pt x="296809" y="2190190"/>
                  <a:pt x="296809" y="2190190"/>
                </a:cubicBezTo>
                <a:cubicBezTo>
                  <a:pt x="295856" y="2187333"/>
                  <a:pt x="295856" y="2186381"/>
                  <a:pt x="296809" y="2183523"/>
                </a:cubicBezTo>
                <a:cubicBezTo>
                  <a:pt x="297761" y="2180665"/>
                  <a:pt x="298714" y="2179713"/>
                  <a:pt x="301571" y="2180665"/>
                </a:cubicBezTo>
                <a:cubicBezTo>
                  <a:pt x="304429" y="2182571"/>
                  <a:pt x="309191" y="2181618"/>
                  <a:pt x="312049" y="2179713"/>
                </a:cubicBezTo>
                <a:cubicBezTo>
                  <a:pt x="316811" y="2177808"/>
                  <a:pt x="321574" y="2179713"/>
                  <a:pt x="324431" y="2177808"/>
                </a:cubicBezTo>
                <a:cubicBezTo>
                  <a:pt x="329194" y="2174951"/>
                  <a:pt x="333004" y="2172093"/>
                  <a:pt x="333956" y="2170188"/>
                </a:cubicBezTo>
                <a:cubicBezTo>
                  <a:pt x="335861" y="2168283"/>
                  <a:pt x="336814" y="2165426"/>
                  <a:pt x="337766" y="2163521"/>
                </a:cubicBezTo>
                <a:cubicBezTo>
                  <a:pt x="339671" y="2161615"/>
                  <a:pt x="339671" y="2160663"/>
                  <a:pt x="342529" y="2160663"/>
                </a:cubicBezTo>
                <a:cubicBezTo>
                  <a:pt x="349196" y="2161615"/>
                  <a:pt x="346339" y="2156853"/>
                  <a:pt x="344434" y="2153996"/>
                </a:cubicBezTo>
                <a:cubicBezTo>
                  <a:pt x="343481" y="2152090"/>
                  <a:pt x="339671" y="2149233"/>
                  <a:pt x="337766" y="2149233"/>
                </a:cubicBezTo>
                <a:cubicBezTo>
                  <a:pt x="332051" y="2150185"/>
                  <a:pt x="330146" y="2148281"/>
                  <a:pt x="329194" y="2140660"/>
                </a:cubicBezTo>
                <a:cubicBezTo>
                  <a:pt x="329194" y="2140660"/>
                  <a:pt x="330146" y="2138756"/>
                  <a:pt x="327289" y="2136851"/>
                </a:cubicBezTo>
                <a:cubicBezTo>
                  <a:pt x="324431" y="2134946"/>
                  <a:pt x="321574" y="2133993"/>
                  <a:pt x="321574" y="2130183"/>
                </a:cubicBezTo>
                <a:cubicBezTo>
                  <a:pt x="321574" y="2126373"/>
                  <a:pt x="317764" y="2122563"/>
                  <a:pt x="314906" y="2121610"/>
                </a:cubicBezTo>
                <a:cubicBezTo>
                  <a:pt x="314906" y="2121610"/>
                  <a:pt x="313001" y="2120658"/>
                  <a:pt x="309191" y="2121610"/>
                </a:cubicBezTo>
                <a:cubicBezTo>
                  <a:pt x="305381" y="2122563"/>
                  <a:pt x="305381" y="2120658"/>
                  <a:pt x="304429" y="2117801"/>
                </a:cubicBezTo>
                <a:cubicBezTo>
                  <a:pt x="302524" y="2113038"/>
                  <a:pt x="304429" y="2111133"/>
                  <a:pt x="298714" y="2111133"/>
                </a:cubicBezTo>
                <a:cubicBezTo>
                  <a:pt x="293951" y="2111133"/>
                  <a:pt x="292046" y="2109228"/>
                  <a:pt x="292046" y="2109228"/>
                </a:cubicBezTo>
                <a:cubicBezTo>
                  <a:pt x="292046" y="2109228"/>
                  <a:pt x="290141" y="2107323"/>
                  <a:pt x="289189" y="2104465"/>
                </a:cubicBezTo>
                <a:cubicBezTo>
                  <a:pt x="288236" y="2101608"/>
                  <a:pt x="288236" y="2102560"/>
                  <a:pt x="284426" y="2100656"/>
                </a:cubicBezTo>
                <a:cubicBezTo>
                  <a:pt x="270139" y="2095893"/>
                  <a:pt x="288236" y="2093988"/>
                  <a:pt x="278711" y="2085415"/>
                </a:cubicBezTo>
                <a:cubicBezTo>
                  <a:pt x="276806" y="2083510"/>
                  <a:pt x="275854" y="2080653"/>
                  <a:pt x="277759" y="2077795"/>
                </a:cubicBezTo>
                <a:cubicBezTo>
                  <a:pt x="279664" y="2074938"/>
                  <a:pt x="281569" y="2071128"/>
                  <a:pt x="281569" y="2070175"/>
                </a:cubicBezTo>
                <a:lnTo>
                  <a:pt x="282521" y="2067318"/>
                </a:lnTo>
                <a:cubicBezTo>
                  <a:pt x="282521" y="2067318"/>
                  <a:pt x="282521" y="2062555"/>
                  <a:pt x="282521" y="2059698"/>
                </a:cubicBezTo>
                <a:cubicBezTo>
                  <a:pt x="281569" y="2055888"/>
                  <a:pt x="280616" y="2055888"/>
                  <a:pt x="282521" y="2053030"/>
                </a:cubicBezTo>
                <a:cubicBezTo>
                  <a:pt x="285379" y="2048268"/>
                  <a:pt x="281569" y="2045410"/>
                  <a:pt x="282521" y="2040648"/>
                </a:cubicBezTo>
                <a:lnTo>
                  <a:pt x="283474" y="2035885"/>
                </a:lnTo>
                <a:cubicBezTo>
                  <a:pt x="283474" y="2035885"/>
                  <a:pt x="283474" y="2034933"/>
                  <a:pt x="285379" y="2032075"/>
                </a:cubicBezTo>
                <a:cubicBezTo>
                  <a:pt x="287284" y="2030170"/>
                  <a:pt x="286331" y="2028265"/>
                  <a:pt x="283474" y="2027313"/>
                </a:cubicBezTo>
                <a:cubicBezTo>
                  <a:pt x="280616" y="2026360"/>
                  <a:pt x="281569" y="2025408"/>
                  <a:pt x="280616" y="2024455"/>
                </a:cubicBezTo>
                <a:lnTo>
                  <a:pt x="280616" y="2021598"/>
                </a:lnTo>
                <a:cubicBezTo>
                  <a:pt x="280616" y="2021598"/>
                  <a:pt x="279664" y="2007310"/>
                  <a:pt x="279664" y="2005405"/>
                </a:cubicBezTo>
                <a:lnTo>
                  <a:pt x="280616" y="1999690"/>
                </a:lnTo>
                <a:cubicBezTo>
                  <a:pt x="280616" y="1999690"/>
                  <a:pt x="282521" y="1992070"/>
                  <a:pt x="284426" y="1991118"/>
                </a:cubicBezTo>
                <a:cubicBezTo>
                  <a:pt x="287284" y="1989213"/>
                  <a:pt x="290141" y="1988260"/>
                  <a:pt x="292046" y="1986355"/>
                </a:cubicBezTo>
                <a:cubicBezTo>
                  <a:pt x="294904" y="1983498"/>
                  <a:pt x="294904" y="1983498"/>
                  <a:pt x="297761" y="1981593"/>
                </a:cubicBezTo>
                <a:cubicBezTo>
                  <a:pt x="300619" y="1979688"/>
                  <a:pt x="299666" y="1977783"/>
                  <a:pt x="292999" y="1977783"/>
                </a:cubicBezTo>
                <a:lnTo>
                  <a:pt x="289189" y="1976830"/>
                </a:lnTo>
                <a:cubicBezTo>
                  <a:pt x="289189" y="1976830"/>
                  <a:pt x="285379" y="1976830"/>
                  <a:pt x="283474" y="1974925"/>
                </a:cubicBezTo>
                <a:cubicBezTo>
                  <a:pt x="281569" y="1973020"/>
                  <a:pt x="280616" y="1972068"/>
                  <a:pt x="279664" y="1973973"/>
                </a:cubicBezTo>
                <a:cubicBezTo>
                  <a:pt x="275854" y="1978735"/>
                  <a:pt x="273949" y="1975878"/>
                  <a:pt x="271091" y="1973020"/>
                </a:cubicBezTo>
                <a:lnTo>
                  <a:pt x="267281" y="1969210"/>
                </a:lnTo>
                <a:lnTo>
                  <a:pt x="265376" y="1967305"/>
                </a:lnTo>
                <a:cubicBezTo>
                  <a:pt x="265376" y="1967305"/>
                  <a:pt x="263471" y="1965400"/>
                  <a:pt x="260614" y="1966353"/>
                </a:cubicBezTo>
                <a:cubicBezTo>
                  <a:pt x="257756" y="1967305"/>
                  <a:pt x="254899" y="1970163"/>
                  <a:pt x="252994" y="1968258"/>
                </a:cubicBezTo>
                <a:cubicBezTo>
                  <a:pt x="251089" y="1966353"/>
                  <a:pt x="248231" y="1963495"/>
                  <a:pt x="246326" y="1963495"/>
                </a:cubicBezTo>
                <a:cubicBezTo>
                  <a:pt x="242516" y="1962543"/>
                  <a:pt x="240611" y="1960638"/>
                  <a:pt x="236801" y="1960638"/>
                </a:cubicBezTo>
                <a:cubicBezTo>
                  <a:pt x="230134" y="1959685"/>
                  <a:pt x="224419" y="1956828"/>
                  <a:pt x="222514" y="1953018"/>
                </a:cubicBezTo>
                <a:cubicBezTo>
                  <a:pt x="221561" y="1948255"/>
                  <a:pt x="218704" y="1946350"/>
                  <a:pt x="213941" y="1945398"/>
                </a:cubicBezTo>
                <a:cubicBezTo>
                  <a:pt x="209179" y="1944445"/>
                  <a:pt x="207274" y="1944445"/>
                  <a:pt x="204416" y="1942540"/>
                </a:cubicBezTo>
                <a:cubicBezTo>
                  <a:pt x="199654" y="1938730"/>
                  <a:pt x="200606" y="1935873"/>
                  <a:pt x="196796" y="1932063"/>
                </a:cubicBezTo>
                <a:cubicBezTo>
                  <a:pt x="193939" y="1929205"/>
                  <a:pt x="191081" y="1925395"/>
                  <a:pt x="185366" y="1926348"/>
                </a:cubicBezTo>
                <a:cubicBezTo>
                  <a:pt x="181556" y="1927300"/>
                  <a:pt x="178699" y="1918728"/>
                  <a:pt x="174889" y="1916823"/>
                </a:cubicBezTo>
                <a:lnTo>
                  <a:pt x="171079" y="1913965"/>
                </a:lnTo>
                <a:cubicBezTo>
                  <a:pt x="171079" y="1913965"/>
                  <a:pt x="167269" y="1911108"/>
                  <a:pt x="167269" y="1909203"/>
                </a:cubicBezTo>
                <a:cubicBezTo>
                  <a:pt x="166316" y="1904440"/>
                  <a:pt x="164411" y="1899678"/>
                  <a:pt x="160601" y="1896820"/>
                </a:cubicBezTo>
                <a:cubicBezTo>
                  <a:pt x="160601" y="1896820"/>
                  <a:pt x="157744" y="1893963"/>
                  <a:pt x="155839" y="1892058"/>
                </a:cubicBezTo>
                <a:cubicBezTo>
                  <a:pt x="153934" y="1890153"/>
                  <a:pt x="152029" y="1886343"/>
                  <a:pt x="155839" y="1883485"/>
                </a:cubicBezTo>
                <a:cubicBezTo>
                  <a:pt x="159649" y="1880628"/>
                  <a:pt x="163459" y="1877770"/>
                  <a:pt x="160601" y="1874913"/>
                </a:cubicBezTo>
                <a:cubicBezTo>
                  <a:pt x="158696" y="1873008"/>
                  <a:pt x="156791" y="1873008"/>
                  <a:pt x="153934" y="1873008"/>
                </a:cubicBezTo>
                <a:cubicBezTo>
                  <a:pt x="149171" y="1873008"/>
                  <a:pt x="147266" y="1875865"/>
                  <a:pt x="143456" y="1874913"/>
                </a:cubicBezTo>
                <a:cubicBezTo>
                  <a:pt x="139646" y="1874913"/>
                  <a:pt x="138694" y="1876818"/>
                  <a:pt x="137741" y="1878723"/>
                </a:cubicBezTo>
                <a:cubicBezTo>
                  <a:pt x="136789" y="1879675"/>
                  <a:pt x="129169" y="1873960"/>
                  <a:pt x="125359" y="1873960"/>
                </a:cubicBezTo>
                <a:cubicBezTo>
                  <a:pt x="125359" y="1873960"/>
                  <a:pt x="122501" y="1873008"/>
                  <a:pt x="118691" y="1872055"/>
                </a:cubicBezTo>
                <a:cubicBezTo>
                  <a:pt x="114881" y="1871103"/>
                  <a:pt x="112024" y="1868245"/>
                  <a:pt x="114881" y="1864435"/>
                </a:cubicBezTo>
                <a:cubicBezTo>
                  <a:pt x="116786" y="1861578"/>
                  <a:pt x="121549" y="1855863"/>
                  <a:pt x="119644" y="1853005"/>
                </a:cubicBezTo>
                <a:cubicBezTo>
                  <a:pt x="119644" y="1853005"/>
                  <a:pt x="118691" y="1850148"/>
                  <a:pt x="118691" y="1847290"/>
                </a:cubicBezTo>
                <a:cubicBezTo>
                  <a:pt x="118691" y="1844433"/>
                  <a:pt x="117739" y="1842528"/>
                  <a:pt x="112976" y="1841575"/>
                </a:cubicBezTo>
                <a:cubicBezTo>
                  <a:pt x="108214" y="1840623"/>
                  <a:pt x="105356" y="1839670"/>
                  <a:pt x="105356" y="1834908"/>
                </a:cubicBezTo>
                <a:lnTo>
                  <a:pt x="105356" y="1833003"/>
                </a:lnTo>
                <a:cubicBezTo>
                  <a:pt x="105356" y="1833003"/>
                  <a:pt x="106309" y="1830145"/>
                  <a:pt x="106309" y="1828240"/>
                </a:cubicBezTo>
                <a:cubicBezTo>
                  <a:pt x="106309" y="1826335"/>
                  <a:pt x="106309" y="1823478"/>
                  <a:pt x="110119" y="1822525"/>
                </a:cubicBezTo>
                <a:cubicBezTo>
                  <a:pt x="112976" y="1821573"/>
                  <a:pt x="116786" y="1821573"/>
                  <a:pt x="115834" y="1817763"/>
                </a:cubicBezTo>
                <a:cubicBezTo>
                  <a:pt x="114881" y="1813953"/>
                  <a:pt x="115834" y="1813953"/>
                  <a:pt x="119644" y="1813953"/>
                </a:cubicBezTo>
                <a:cubicBezTo>
                  <a:pt x="122501" y="1813000"/>
                  <a:pt x="124406" y="1812048"/>
                  <a:pt x="123454" y="1809190"/>
                </a:cubicBezTo>
                <a:cubicBezTo>
                  <a:pt x="121549" y="1801570"/>
                  <a:pt x="119644" y="1800618"/>
                  <a:pt x="125359" y="1794903"/>
                </a:cubicBezTo>
                <a:cubicBezTo>
                  <a:pt x="127264" y="1792998"/>
                  <a:pt x="130121" y="1789188"/>
                  <a:pt x="130121" y="1786330"/>
                </a:cubicBezTo>
                <a:cubicBezTo>
                  <a:pt x="130121" y="1783473"/>
                  <a:pt x="131074" y="1782520"/>
                  <a:pt x="130121" y="1780615"/>
                </a:cubicBezTo>
                <a:cubicBezTo>
                  <a:pt x="128216" y="1775853"/>
                  <a:pt x="125359" y="1772043"/>
                  <a:pt x="127264" y="1768233"/>
                </a:cubicBezTo>
                <a:cubicBezTo>
                  <a:pt x="131074" y="1760613"/>
                  <a:pt x="129169" y="1761565"/>
                  <a:pt x="123454" y="1753945"/>
                </a:cubicBezTo>
                <a:cubicBezTo>
                  <a:pt x="121549" y="1751088"/>
                  <a:pt x="120596" y="1750135"/>
                  <a:pt x="118691" y="1747278"/>
                </a:cubicBezTo>
                <a:cubicBezTo>
                  <a:pt x="114881" y="1742515"/>
                  <a:pt x="114881" y="1739658"/>
                  <a:pt x="112976" y="1735848"/>
                </a:cubicBezTo>
                <a:cubicBezTo>
                  <a:pt x="112024" y="1733943"/>
                  <a:pt x="110119" y="1731085"/>
                  <a:pt x="107261" y="1728228"/>
                </a:cubicBezTo>
                <a:cubicBezTo>
                  <a:pt x="102499" y="1724418"/>
                  <a:pt x="99641" y="1723465"/>
                  <a:pt x="96784" y="1726323"/>
                </a:cubicBezTo>
                <a:cubicBezTo>
                  <a:pt x="94879" y="1729180"/>
                  <a:pt x="93926" y="1735848"/>
                  <a:pt x="89164" y="1729180"/>
                </a:cubicBezTo>
                <a:cubicBezTo>
                  <a:pt x="88211" y="1727275"/>
                  <a:pt x="85354" y="1725370"/>
                  <a:pt x="86306" y="1721560"/>
                </a:cubicBezTo>
                <a:cubicBezTo>
                  <a:pt x="87259" y="1716798"/>
                  <a:pt x="88211" y="1715845"/>
                  <a:pt x="88211" y="1715845"/>
                </a:cubicBezTo>
                <a:lnTo>
                  <a:pt x="89164" y="1708225"/>
                </a:lnTo>
                <a:cubicBezTo>
                  <a:pt x="89164" y="1708225"/>
                  <a:pt x="89164" y="1705368"/>
                  <a:pt x="89164" y="1702510"/>
                </a:cubicBezTo>
                <a:cubicBezTo>
                  <a:pt x="90116" y="1698700"/>
                  <a:pt x="88211" y="1695843"/>
                  <a:pt x="83449" y="1694890"/>
                </a:cubicBezTo>
                <a:cubicBezTo>
                  <a:pt x="78686" y="1693938"/>
                  <a:pt x="71066" y="1691080"/>
                  <a:pt x="71066" y="1687270"/>
                </a:cubicBezTo>
                <a:cubicBezTo>
                  <a:pt x="68209" y="1678698"/>
                  <a:pt x="69161" y="1681555"/>
                  <a:pt x="60589" y="1679650"/>
                </a:cubicBezTo>
                <a:cubicBezTo>
                  <a:pt x="57731" y="1678698"/>
                  <a:pt x="57731" y="1681555"/>
                  <a:pt x="53921" y="1678698"/>
                </a:cubicBezTo>
                <a:cubicBezTo>
                  <a:pt x="50111" y="1675840"/>
                  <a:pt x="47254" y="1674888"/>
                  <a:pt x="45349" y="1676793"/>
                </a:cubicBezTo>
                <a:cubicBezTo>
                  <a:pt x="43444" y="1678698"/>
                  <a:pt x="41539" y="1682508"/>
                  <a:pt x="39634" y="1678698"/>
                </a:cubicBezTo>
                <a:cubicBezTo>
                  <a:pt x="37729" y="1675840"/>
                  <a:pt x="38681" y="1672983"/>
                  <a:pt x="38681" y="1669173"/>
                </a:cubicBezTo>
                <a:cubicBezTo>
                  <a:pt x="38681" y="1665363"/>
                  <a:pt x="32014" y="1664410"/>
                  <a:pt x="29156" y="1659648"/>
                </a:cubicBezTo>
                <a:cubicBezTo>
                  <a:pt x="27251" y="1657743"/>
                  <a:pt x="26299" y="1655838"/>
                  <a:pt x="24394" y="1655838"/>
                </a:cubicBezTo>
                <a:cubicBezTo>
                  <a:pt x="19631" y="1656790"/>
                  <a:pt x="16774" y="1657743"/>
                  <a:pt x="16774" y="1657743"/>
                </a:cubicBezTo>
                <a:cubicBezTo>
                  <a:pt x="10106" y="1659648"/>
                  <a:pt x="12011" y="1656790"/>
                  <a:pt x="10106" y="1651075"/>
                </a:cubicBezTo>
                <a:cubicBezTo>
                  <a:pt x="9154" y="1647265"/>
                  <a:pt x="10106" y="1645360"/>
                  <a:pt x="9154" y="1640598"/>
                </a:cubicBezTo>
                <a:cubicBezTo>
                  <a:pt x="10106" y="1634883"/>
                  <a:pt x="10106" y="1632025"/>
                  <a:pt x="14869" y="1628215"/>
                </a:cubicBezTo>
                <a:cubicBezTo>
                  <a:pt x="18679" y="1625358"/>
                  <a:pt x="21536" y="1625358"/>
                  <a:pt x="32966" y="1629168"/>
                </a:cubicBezTo>
                <a:cubicBezTo>
                  <a:pt x="44396" y="1632978"/>
                  <a:pt x="43444" y="1633930"/>
                  <a:pt x="51064" y="1637740"/>
                </a:cubicBezTo>
                <a:cubicBezTo>
                  <a:pt x="52969" y="1638693"/>
                  <a:pt x="55826" y="1639645"/>
                  <a:pt x="57731" y="1640598"/>
                </a:cubicBezTo>
                <a:cubicBezTo>
                  <a:pt x="59636" y="1641550"/>
                  <a:pt x="62494" y="1642503"/>
                  <a:pt x="65351" y="1643455"/>
                </a:cubicBezTo>
                <a:cubicBezTo>
                  <a:pt x="72019" y="1645360"/>
                  <a:pt x="72019" y="1644408"/>
                  <a:pt x="78686" y="1641550"/>
                </a:cubicBezTo>
                <a:cubicBezTo>
                  <a:pt x="85354" y="1638693"/>
                  <a:pt x="87259" y="1632025"/>
                  <a:pt x="85354" y="1626310"/>
                </a:cubicBezTo>
                <a:cubicBezTo>
                  <a:pt x="83449" y="1619643"/>
                  <a:pt x="78686" y="1612023"/>
                  <a:pt x="74876" y="1603450"/>
                </a:cubicBezTo>
                <a:cubicBezTo>
                  <a:pt x="70114" y="1594878"/>
                  <a:pt x="79639" y="1587258"/>
                  <a:pt x="85354" y="1581543"/>
                </a:cubicBezTo>
                <a:cubicBezTo>
                  <a:pt x="91069" y="1575828"/>
                  <a:pt x="90116" y="1571065"/>
                  <a:pt x="87259" y="1564398"/>
                </a:cubicBezTo>
                <a:cubicBezTo>
                  <a:pt x="83449" y="1556778"/>
                  <a:pt x="86306" y="1556778"/>
                  <a:pt x="91069" y="1550110"/>
                </a:cubicBezTo>
                <a:cubicBezTo>
                  <a:pt x="94879" y="1543443"/>
                  <a:pt x="92021" y="1542490"/>
                  <a:pt x="90116" y="1533918"/>
                </a:cubicBezTo>
                <a:cubicBezTo>
                  <a:pt x="87259" y="1525345"/>
                  <a:pt x="89164" y="1521535"/>
                  <a:pt x="90116" y="1514868"/>
                </a:cubicBezTo>
                <a:cubicBezTo>
                  <a:pt x="91069" y="1508200"/>
                  <a:pt x="97736" y="1499628"/>
                  <a:pt x="102499" y="1492008"/>
                </a:cubicBezTo>
                <a:cubicBezTo>
                  <a:pt x="107261" y="1484388"/>
                  <a:pt x="106309" y="1481530"/>
                  <a:pt x="100594" y="1474863"/>
                </a:cubicBezTo>
                <a:cubicBezTo>
                  <a:pt x="94879" y="1468195"/>
                  <a:pt x="92974" y="1464385"/>
                  <a:pt x="90116" y="1456765"/>
                </a:cubicBezTo>
                <a:cubicBezTo>
                  <a:pt x="87259" y="1449145"/>
                  <a:pt x="70114" y="1443430"/>
                  <a:pt x="69161" y="1443430"/>
                </a:cubicBezTo>
                <a:cubicBezTo>
                  <a:pt x="68209" y="1443430"/>
                  <a:pt x="68209" y="1442478"/>
                  <a:pt x="67256" y="1442478"/>
                </a:cubicBezTo>
                <a:cubicBezTo>
                  <a:pt x="55826" y="1435810"/>
                  <a:pt x="45349" y="1433905"/>
                  <a:pt x="34871" y="1442478"/>
                </a:cubicBezTo>
                <a:cubicBezTo>
                  <a:pt x="30109" y="1446288"/>
                  <a:pt x="25346" y="1445335"/>
                  <a:pt x="21536" y="1442478"/>
                </a:cubicBezTo>
                <a:cubicBezTo>
                  <a:pt x="17726" y="1439620"/>
                  <a:pt x="16774" y="1437715"/>
                  <a:pt x="15821" y="1435810"/>
                </a:cubicBezTo>
                <a:cubicBezTo>
                  <a:pt x="14869" y="1433905"/>
                  <a:pt x="13916" y="1431048"/>
                  <a:pt x="12011" y="1427238"/>
                </a:cubicBezTo>
                <a:cubicBezTo>
                  <a:pt x="11059" y="1425333"/>
                  <a:pt x="9154" y="1422475"/>
                  <a:pt x="7249" y="1419618"/>
                </a:cubicBezTo>
                <a:cubicBezTo>
                  <a:pt x="1534" y="1410093"/>
                  <a:pt x="-2276" y="1406283"/>
                  <a:pt x="1534" y="1397710"/>
                </a:cubicBezTo>
                <a:cubicBezTo>
                  <a:pt x="4391" y="1390090"/>
                  <a:pt x="9154" y="1386280"/>
                  <a:pt x="16774" y="1386280"/>
                </a:cubicBezTo>
                <a:cubicBezTo>
                  <a:pt x="24394" y="1386280"/>
                  <a:pt x="26299" y="1389138"/>
                  <a:pt x="29156" y="1381518"/>
                </a:cubicBezTo>
                <a:cubicBezTo>
                  <a:pt x="32014" y="1374850"/>
                  <a:pt x="32014" y="1375803"/>
                  <a:pt x="27251" y="1371993"/>
                </a:cubicBezTo>
                <a:cubicBezTo>
                  <a:pt x="22489" y="1368183"/>
                  <a:pt x="22489" y="1365325"/>
                  <a:pt x="21536" y="1358658"/>
                </a:cubicBezTo>
                <a:cubicBezTo>
                  <a:pt x="20584" y="1353895"/>
                  <a:pt x="21536" y="1350085"/>
                  <a:pt x="21536" y="1347228"/>
                </a:cubicBezTo>
                <a:cubicBezTo>
                  <a:pt x="21536" y="1342465"/>
                  <a:pt x="21536" y="1342465"/>
                  <a:pt x="20584" y="1338655"/>
                </a:cubicBezTo>
                <a:cubicBezTo>
                  <a:pt x="19631" y="1334845"/>
                  <a:pt x="17726" y="1335798"/>
                  <a:pt x="15821" y="1330083"/>
                </a:cubicBezTo>
                <a:cubicBezTo>
                  <a:pt x="14869" y="1327225"/>
                  <a:pt x="14869" y="1323415"/>
                  <a:pt x="14869" y="1323415"/>
                </a:cubicBezTo>
                <a:cubicBezTo>
                  <a:pt x="16774" y="1319605"/>
                  <a:pt x="18679" y="1317700"/>
                  <a:pt x="24394" y="1313890"/>
                </a:cubicBezTo>
                <a:cubicBezTo>
                  <a:pt x="28204" y="1311033"/>
                  <a:pt x="32014" y="1311033"/>
                  <a:pt x="35824" y="1310080"/>
                </a:cubicBezTo>
                <a:cubicBezTo>
                  <a:pt x="39634" y="1309128"/>
                  <a:pt x="46301" y="1314843"/>
                  <a:pt x="49159" y="1313890"/>
                </a:cubicBezTo>
                <a:lnTo>
                  <a:pt x="55826" y="1313890"/>
                </a:lnTo>
                <a:cubicBezTo>
                  <a:pt x="55826" y="1313890"/>
                  <a:pt x="59636" y="1311985"/>
                  <a:pt x="64399" y="1308175"/>
                </a:cubicBezTo>
                <a:cubicBezTo>
                  <a:pt x="72019" y="1302460"/>
                  <a:pt x="72019" y="1301508"/>
                  <a:pt x="72019" y="1299603"/>
                </a:cubicBezTo>
                <a:cubicBezTo>
                  <a:pt x="72971" y="1294840"/>
                  <a:pt x="72971" y="1290078"/>
                  <a:pt x="73924" y="1286268"/>
                </a:cubicBezTo>
                <a:cubicBezTo>
                  <a:pt x="73924" y="1285315"/>
                  <a:pt x="73924" y="1284363"/>
                  <a:pt x="72019" y="1282458"/>
                </a:cubicBezTo>
                <a:cubicBezTo>
                  <a:pt x="70114" y="1280553"/>
                  <a:pt x="70114" y="1276743"/>
                  <a:pt x="73924" y="1273885"/>
                </a:cubicBezTo>
                <a:cubicBezTo>
                  <a:pt x="76781" y="1270075"/>
                  <a:pt x="79639" y="1270075"/>
                  <a:pt x="83449" y="1267218"/>
                </a:cubicBezTo>
                <a:cubicBezTo>
                  <a:pt x="86306" y="1265313"/>
                  <a:pt x="87259" y="1263408"/>
                  <a:pt x="89164" y="1261503"/>
                </a:cubicBezTo>
                <a:cubicBezTo>
                  <a:pt x="91069" y="1259598"/>
                  <a:pt x="92021" y="1258645"/>
                  <a:pt x="93926" y="1258645"/>
                </a:cubicBezTo>
                <a:cubicBezTo>
                  <a:pt x="95831" y="1258645"/>
                  <a:pt x="95831" y="1255788"/>
                  <a:pt x="94879" y="1252930"/>
                </a:cubicBezTo>
                <a:cubicBezTo>
                  <a:pt x="92021" y="1246263"/>
                  <a:pt x="96784" y="1250073"/>
                  <a:pt x="102499" y="1246263"/>
                </a:cubicBezTo>
                <a:cubicBezTo>
                  <a:pt x="104404" y="1244358"/>
                  <a:pt x="106309" y="1244358"/>
                  <a:pt x="107261" y="1247215"/>
                </a:cubicBezTo>
                <a:cubicBezTo>
                  <a:pt x="109166" y="1251025"/>
                  <a:pt x="122501" y="1246263"/>
                  <a:pt x="126311" y="1249120"/>
                </a:cubicBezTo>
                <a:cubicBezTo>
                  <a:pt x="128216" y="1250073"/>
                  <a:pt x="128216" y="1252930"/>
                  <a:pt x="130121" y="1254835"/>
                </a:cubicBezTo>
                <a:cubicBezTo>
                  <a:pt x="132979" y="1256740"/>
                  <a:pt x="136789" y="1256740"/>
                  <a:pt x="139646" y="1255788"/>
                </a:cubicBezTo>
                <a:cubicBezTo>
                  <a:pt x="139646" y="1255788"/>
                  <a:pt x="152981" y="1251978"/>
                  <a:pt x="154886" y="1249120"/>
                </a:cubicBezTo>
                <a:lnTo>
                  <a:pt x="158696" y="1247215"/>
                </a:lnTo>
                <a:lnTo>
                  <a:pt x="160601" y="1246263"/>
                </a:lnTo>
                <a:lnTo>
                  <a:pt x="163459" y="1244358"/>
                </a:lnTo>
                <a:cubicBezTo>
                  <a:pt x="163459" y="1244358"/>
                  <a:pt x="165364" y="1242453"/>
                  <a:pt x="169174" y="1244358"/>
                </a:cubicBezTo>
                <a:cubicBezTo>
                  <a:pt x="175841" y="1247215"/>
                  <a:pt x="174889" y="1238643"/>
                  <a:pt x="180604" y="1238643"/>
                </a:cubicBezTo>
                <a:cubicBezTo>
                  <a:pt x="184414" y="1238643"/>
                  <a:pt x="187271" y="1240548"/>
                  <a:pt x="190129" y="1242453"/>
                </a:cubicBezTo>
                <a:cubicBezTo>
                  <a:pt x="193939" y="1246263"/>
                  <a:pt x="194891" y="1247215"/>
                  <a:pt x="195844" y="1246263"/>
                </a:cubicBezTo>
                <a:cubicBezTo>
                  <a:pt x="199654" y="1246263"/>
                  <a:pt x="201559" y="1245310"/>
                  <a:pt x="198701" y="1240548"/>
                </a:cubicBezTo>
                <a:cubicBezTo>
                  <a:pt x="193939" y="1233880"/>
                  <a:pt x="191081" y="1228165"/>
                  <a:pt x="198701" y="1221498"/>
                </a:cubicBezTo>
                <a:cubicBezTo>
                  <a:pt x="200606" y="1219593"/>
                  <a:pt x="203464" y="1223403"/>
                  <a:pt x="205369" y="1227213"/>
                </a:cubicBezTo>
                <a:cubicBezTo>
                  <a:pt x="207274" y="1231975"/>
                  <a:pt x="212036" y="1234833"/>
                  <a:pt x="216799" y="1236738"/>
                </a:cubicBezTo>
                <a:cubicBezTo>
                  <a:pt x="220609" y="1237690"/>
                  <a:pt x="225371" y="1238643"/>
                  <a:pt x="226324" y="1238643"/>
                </a:cubicBezTo>
                <a:cubicBezTo>
                  <a:pt x="228229" y="1239595"/>
                  <a:pt x="232039" y="1239595"/>
                  <a:pt x="234896" y="1239595"/>
                </a:cubicBezTo>
                <a:cubicBezTo>
                  <a:pt x="239659" y="1239595"/>
                  <a:pt x="243469" y="1237690"/>
                  <a:pt x="248231" y="1235785"/>
                </a:cubicBezTo>
                <a:cubicBezTo>
                  <a:pt x="248231" y="1235785"/>
                  <a:pt x="252041" y="1233880"/>
                  <a:pt x="256804" y="1231975"/>
                </a:cubicBezTo>
                <a:cubicBezTo>
                  <a:pt x="260614" y="1230070"/>
                  <a:pt x="266329" y="1227213"/>
                  <a:pt x="271091" y="1227213"/>
                </a:cubicBezTo>
                <a:cubicBezTo>
                  <a:pt x="274901" y="1227213"/>
                  <a:pt x="277759" y="1229118"/>
                  <a:pt x="275854" y="1236738"/>
                </a:cubicBezTo>
                <a:cubicBezTo>
                  <a:pt x="274901" y="1239595"/>
                  <a:pt x="274901" y="1242453"/>
                  <a:pt x="275854" y="1246263"/>
                </a:cubicBezTo>
                <a:cubicBezTo>
                  <a:pt x="276806" y="1249120"/>
                  <a:pt x="277759" y="1252930"/>
                  <a:pt x="278711" y="1253883"/>
                </a:cubicBezTo>
                <a:cubicBezTo>
                  <a:pt x="281569" y="1257693"/>
                  <a:pt x="273949" y="1261503"/>
                  <a:pt x="271091" y="1264360"/>
                </a:cubicBezTo>
                <a:cubicBezTo>
                  <a:pt x="269186" y="1266265"/>
                  <a:pt x="267281" y="1267218"/>
                  <a:pt x="269186" y="1269123"/>
                </a:cubicBezTo>
                <a:cubicBezTo>
                  <a:pt x="271091" y="1270075"/>
                  <a:pt x="272044" y="1271028"/>
                  <a:pt x="270139" y="1272933"/>
                </a:cubicBezTo>
                <a:cubicBezTo>
                  <a:pt x="268234" y="1274838"/>
                  <a:pt x="269186" y="1277695"/>
                  <a:pt x="272996" y="1277695"/>
                </a:cubicBezTo>
                <a:cubicBezTo>
                  <a:pt x="275854" y="1278648"/>
                  <a:pt x="277759" y="1277695"/>
                  <a:pt x="280616" y="1277695"/>
                </a:cubicBezTo>
                <a:cubicBezTo>
                  <a:pt x="283474" y="1277695"/>
                  <a:pt x="287284" y="1276743"/>
                  <a:pt x="290141" y="1276743"/>
                </a:cubicBezTo>
                <a:cubicBezTo>
                  <a:pt x="292046" y="1276743"/>
                  <a:pt x="297761" y="1276743"/>
                  <a:pt x="303476" y="1276743"/>
                </a:cubicBezTo>
                <a:cubicBezTo>
                  <a:pt x="307286" y="1276743"/>
                  <a:pt x="311096" y="1277695"/>
                  <a:pt x="313001" y="1278648"/>
                </a:cubicBezTo>
                <a:cubicBezTo>
                  <a:pt x="317764" y="1281505"/>
                  <a:pt x="320621" y="1282458"/>
                  <a:pt x="326336" y="1280553"/>
                </a:cubicBezTo>
                <a:cubicBezTo>
                  <a:pt x="329194" y="1279600"/>
                  <a:pt x="333004" y="1279600"/>
                  <a:pt x="333004" y="1282458"/>
                </a:cubicBezTo>
                <a:cubicBezTo>
                  <a:pt x="332051" y="1291030"/>
                  <a:pt x="334909" y="1291983"/>
                  <a:pt x="339671" y="1291030"/>
                </a:cubicBezTo>
                <a:cubicBezTo>
                  <a:pt x="342529" y="1290078"/>
                  <a:pt x="346339" y="1289125"/>
                  <a:pt x="349196" y="1288173"/>
                </a:cubicBezTo>
                <a:cubicBezTo>
                  <a:pt x="353959" y="1286268"/>
                  <a:pt x="357769" y="1282458"/>
                  <a:pt x="360626" y="1277695"/>
                </a:cubicBezTo>
                <a:cubicBezTo>
                  <a:pt x="362531" y="1274838"/>
                  <a:pt x="365389" y="1271980"/>
                  <a:pt x="368246" y="1270075"/>
                </a:cubicBezTo>
                <a:cubicBezTo>
                  <a:pt x="371104" y="1268170"/>
                  <a:pt x="376819" y="1263408"/>
                  <a:pt x="376819" y="1260550"/>
                </a:cubicBezTo>
                <a:cubicBezTo>
                  <a:pt x="376819" y="1253883"/>
                  <a:pt x="376819" y="1251978"/>
                  <a:pt x="377771" y="1251025"/>
                </a:cubicBezTo>
                <a:cubicBezTo>
                  <a:pt x="378724" y="1250073"/>
                  <a:pt x="380629" y="1250073"/>
                  <a:pt x="385391" y="1248168"/>
                </a:cubicBezTo>
                <a:cubicBezTo>
                  <a:pt x="388249" y="1247215"/>
                  <a:pt x="392059" y="1243405"/>
                  <a:pt x="393011" y="1239595"/>
                </a:cubicBezTo>
                <a:cubicBezTo>
                  <a:pt x="393964" y="1235785"/>
                  <a:pt x="394916" y="1233880"/>
                  <a:pt x="394916" y="1233880"/>
                </a:cubicBezTo>
                <a:lnTo>
                  <a:pt x="395869" y="1231023"/>
                </a:lnTo>
                <a:cubicBezTo>
                  <a:pt x="395869" y="1231023"/>
                  <a:pt x="395869" y="1226260"/>
                  <a:pt x="400631" y="1226260"/>
                </a:cubicBezTo>
                <a:cubicBezTo>
                  <a:pt x="406346" y="1226260"/>
                  <a:pt x="407299" y="1226260"/>
                  <a:pt x="413966" y="1224355"/>
                </a:cubicBezTo>
                <a:cubicBezTo>
                  <a:pt x="416824" y="1223403"/>
                  <a:pt x="428254" y="1221498"/>
                  <a:pt x="431111" y="1223403"/>
                </a:cubicBezTo>
                <a:cubicBezTo>
                  <a:pt x="433969" y="1225308"/>
                  <a:pt x="435874" y="1226260"/>
                  <a:pt x="435874" y="1228165"/>
                </a:cubicBezTo>
                <a:cubicBezTo>
                  <a:pt x="435874" y="1232928"/>
                  <a:pt x="440636" y="1233880"/>
                  <a:pt x="444446" y="1234833"/>
                </a:cubicBezTo>
                <a:cubicBezTo>
                  <a:pt x="447304" y="1234833"/>
                  <a:pt x="449209" y="1234833"/>
                  <a:pt x="451114" y="1235785"/>
                </a:cubicBezTo>
                <a:cubicBezTo>
                  <a:pt x="452066" y="1236738"/>
                  <a:pt x="457781" y="1233880"/>
                  <a:pt x="462544" y="1234833"/>
                </a:cubicBezTo>
                <a:cubicBezTo>
                  <a:pt x="468259" y="1235785"/>
                  <a:pt x="475879" y="1245310"/>
                  <a:pt x="477784" y="1244358"/>
                </a:cubicBezTo>
                <a:cubicBezTo>
                  <a:pt x="484451" y="1245310"/>
                  <a:pt x="491119" y="1247215"/>
                  <a:pt x="495881" y="1246263"/>
                </a:cubicBezTo>
                <a:cubicBezTo>
                  <a:pt x="499691" y="1245310"/>
                  <a:pt x="501596" y="1245310"/>
                  <a:pt x="504454" y="1244358"/>
                </a:cubicBezTo>
                <a:cubicBezTo>
                  <a:pt x="508264" y="1241500"/>
                  <a:pt x="509216" y="1233880"/>
                  <a:pt x="513026" y="1231975"/>
                </a:cubicBezTo>
                <a:cubicBezTo>
                  <a:pt x="525409" y="1228165"/>
                  <a:pt x="532076" y="1234833"/>
                  <a:pt x="537791" y="1231975"/>
                </a:cubicBezTo>
                <a:cubicBezTo>
                  <a:pt x="541601" y="1230070"/>
                  <a:pt x="547316" y="1217688"/>
                  <a:pt x="556841" y="1213878"/>
                </a:cubicBezTo>
                <a:cubicBezTo>
                  <a:pt x="559699" y="1212925"/>
                  <a:pt x="562556" y="1219593"/>
                  <a:pt x="567319" y="1218640"/>
                </a:cubicBezTo>
                <a:cubicBezTo>
                  <a:pt x="567319" y="1218640"/>
                  <a:pt x="573986" y="1219593"/>
                  <a:pt x="576844" y="1219593"/>
                </a:cubicBezTo>
                <a:cubicBezTo>
                  <a:pt x="588274" y="1219593"/>
                  <a:pt x="588274" y="1215783"/>
                  <a:pt x="597799" y="1216735"/>
                </a:cubicBezTo>
                <a:cubicBezTo>
                  <a:pt x="600656" y="1216735"/>
                  <a:pt x="604466" y="1216735"/>
                  <a:pt x="605419" y="1214830"/>
                </a:cubicBezTo>
                <a:cubicBezTo>
                  <a:pt x="608276" y="1211020"/>
                  <a:pt x="610181" y="1210068"/>
                  <a:pt x="614944" y="1210068"/>
                </a:cubicBezTo>
                <a:lnTo>
                  <a:pt x="616849" y="1210068"/>
                </a:lnTo>
                <a:cubicBezTo>
                  <a:pt x="616849" y="1210068"/>
                  <a:pt x="621611" y="1210068"/>
                  <a:pt x="626374" y="1208163"/>
                </a:cubicBezTo>
                <a:cubicBezTo>
                  <a:pt x="632089" y="1207210"/>
                  <a:pt x="638756" y="1205305"/>
                  <a:pt x="640661" y="1205305"/>
                </a:cubicBezTo>
                <a:lnTo>
                  <a:pt x="643519" y="1204353"/>
                </a:lnTo>
                <a:cubicBezTo>
                  <a:pt x="643519" y="1204353"/>
                  <a:pt x="649234" y="1200543"/>
                  <a:pt x="654949" y="1200543"/>
                </a:cubicBezTo>
                <a:cubicBezTo>
                  <a:pt x="659711" y="1200543"/>
                  <a:pt x="663521" y="1201495"/>
                  <a:pt x="666379" y="1200543"/>
                </a:cubicBezTo>
                <a:cubicBezTo>
                  <a:pt x="670189" y="1198638"/>
                  <a:pt x="671141" y="1194828"/>
                  <a:pt x="676856" y="1194828"/>
                </a:cubicBezTo>
                <a:cubicBezTo>
                  <a:pt x="679714" y="1194828"/>
                  <a:pt x="684476" y="1195780"/>
                  <a:pt x="686381" y="1192923"/>
                </a:cubicBezTo>
                <a:cubicBezTo>
                  <a:pt x="691144" y="1186255"/>
                  <a:pt x="695906" y="1193875"/>
                  <a:pt x="701621" y="1194828"/>
                </a:cubicBezTo>
                <a:cubicBezTo>
                  <a:pt x="707336" y="1195780"/>
                  <a:pt x="713051" y="1191018"/>
                  <a:pt x="721624" y="1193875"/>
                </a:cubicBezTo>
                <a:cubicBezTo>
                  <a:pt x="727339" y="1194828"/>
                  <a:pt x="725434" y="1192923"/>
                  <a:pt x="728291" y="1189113"/>
                </a:cubicBezTo>
                <a:cubicBezTo>
                  <a:pt x="729244" y="1188160"/>
                  <a:pt x="732101" y="1186255"/>
                  <a:pt x="734959" y="1185303"/>
                </a:cubicBezTo>
                <a:cubicBezTo>
                  <a:pt x="738769" y="1182445"/>
                  <a:pt x="743531" y="1180540"/>
                  <a:pt x="744484" y="1179588"/>
                </a:cubicBezTo>
                <a:cubicBezTo>
                  <a:pt x="747341" y="1178635"/>
                  <a:pt x="750199" y="1177683"/>
                  <a:pt x="753056" y="1178635"/>
                </a:cubicBezTo>
                <a:cubicBezTo>
                  <a:pt x="754009" y="1178635"/>
                  <a:pt x="754961" y="1178635"/>
                  <a:pt x="755914" y="1179588"/>
                </a:cubicBezTo>
                <a:cubicBezTo>
                  <a:pt x="759724" y="1181493"/>
                  <a:pt x="763534" y="1182445"/>
                  <a:pt x="765439" y="1178635"/>
                </a:cubicBezTo>
                <a:cubicBezTo>
                  <a:pt x="767344" y="1173873"/>
                  <a:pt x="768296" y="1173873"/>
                  <a:pt x="768296" y="1173873"/>
                </a:cubicBezTo>
                <a:cubicBezTo>
                  <a:pt x="773059" y="1168158"/>
                  <a:pt x="767344" y="1168158"/>
                  <a:pt x="776869" y="1169110"/>
                </a:cubicBezTo>
                <a:cubicBezTo>
                  <a:pt x="782584" y="1169110"/>
                  <a:pt x="780679" y="1168158"/>
                  <a:pt x="782584" y="1162443"/>
                </a:cubicBezTo>
                <a:cubicBezTo>
                  <a:pt x="784489" y="1156728"/>
                  <a:pt x="782584" y="1155775"/>
                  <a:pt x="782584" y="1155775"/>
                </a:cubicBezTo>
                <a:cubicBezTo>
                  <a:pt x="780679" y="1150060"/>
                  <a:pt x="784489" y="1151013"/>
                  <a:pt x="784489" y="1145298"/>
                </a:cubicBezTo>
                <a:cubicBezTo>
                  <a:pt x="784489" y="1142440"/>
                  <a:pt x="784489" y="1140535"/>
                  <a:pt x="784489" y="1138630"/>
                </a:cubicBezTo>
                <a:cubicBezTo>
                  <a:pt x="784489" y="1132915"/>
                  <a:pt x="787346" y="1135773"/>
                  <a:pt x="789251" y="1130061"/>
                </a:cubicBezTo>
                <a:cubicBezTo>
                  <a:pt x="790204" y="1127203"/>
                  <a:pt x="791156" y="1123393"/>
                  <a:pt x="791156" y="1121488"/>
                </a:cubicBezTo>
                <a:cubicBezTo>
                  <a:pt x="791156" y="1116726"/>
                  <a:pt x="791156" y="1113868"/>
                  <a:pt x="792109" y="1111963"/>
                </a:cubicBezTo>
                <a:cubicBezTo>
                  <a:pt x="792109" y="1111011"/>
                  <a:pt x="793061" y="1109106"/>
                  <a:pt x="794014" y="1108153"/>
                </a:cubicBezTo>
                <a:cubicBezTo>
                  <a:pt x="794966" y="1107201"/>
                  <a:pt x="800681" y="1098628"/>
                  <a:pt x="801634" y="1097676"/>
                </a:cubicBezTo>
                <a:cubicBezTo>
                  <a:pt x="803539" y="1092913"/>
                  <a:pt x="807349" y="1092913"/>
                  <a:pt x="813064" y="1094818"/>
                </a:cubicBezTo>
                <a:cubicBezTo>
                  <a:pt x="819731" y="1096723"/>
                  <a:pt x="818779" y="1095771"/>
                  <a:pt x="825446" y="1093866"/>
                </a:cubicBezTo>
                <a:cubicBezTo>
                  <a:pt x="832114" y="1091961"/>
                  <a:pt x="832114" y="1092913"/>
                  <a:pt x="836876" y="1093866"/>
                </a:cubicBezTo>
                <a:cubicBezTo>
                  <a:pt x="840686" y="1093866"/>
                  <a:pt x="838781" y="1091008"/>
                  <a:pt x="837829" y="1089103"/>
                </a:cubicBezTo>
                <a:cubicBezTo>
                  <a:pt x="835924" y="1087198"/>
                  <a:pt x="833066" y="1084341"/>
                  <a:pt x="829256" y="1080531"/>
                </a:cubicBezTo>
                <a:cubicBezTo>
                  <a:pt x="824494" y="1075768"/>
                  <a:pt x="821636" y="1072911"/>
                  <a:pt x="827351" y="1069101"/>
                </a:cubicBezTo>
                <a:cubicBezTo>
                  <a:pt x="829256" y="1068148"/>
                  <a:pt x="830209" y="1065291"/>
                  <a:pt x="834971" y="1066243"/>
                </a:cubicBezTo>
                <a:cubicBezTo>
                  <a:pt x="838781" y="1067196"/>
                  <a:pt x="841639" y="1068148"/>
                  <a:pt x="842591" y="1066243"/>
                </a:cubicBezTo>
                <a:lnTo>
                  <a:pt x="844496" y="1065291"/>
                </a:lnTo>
                <a:cubicBezTo>
                  <a:pt x="844496" y="1065291"/>
                  <a:pt x="846401" y="1062433"/>
                  <a:pt x="849259" y="1061481"/>
                </a:cubicBezTo>
                <a:cubicBezTo>
                  <a:pt x="853069" y="1060528"/>
                  <a:pt x="854021" y="1060528"/>
                  <a:pt x="855926" y="1061481"/>
                </a:cubicBezTo>
                <a:cubicBezTo>
                  <a:pt x="858784" y="1063386"/>
                  <a:pt x="862594" y="1065291"/>
                  <a:pt x="867356" y="1063386"/>
                </a:cubicBezTo>
                <a:cubicBezTo>
                  <a:pt x="871166" y="1061481"/>
                  <a:pt x="870214" y="1056718"/>
                  <a:pt x="870214" y="1052908"/>
                </a:cubicBezTo>
                <a:cubicBezTo>
                  <a:pt x="870214" y="1050051"/>
                  <a:pt x="869261" y="1049098"/>
                  <a:pt x="871166" y="1047193"/>
                </a:cubicBezTo>
                <a:cubicBezTo>
                  <a:pt x="875929" y="1038621"/>
                  <a:pt x="862594" y="1044336"/>
                  <a:pt x="867356" y="1035763"/>
                </a:cubicBezTo>
                <a:cubicBezTo>
                  <a:pt x="868309" y="1034811"/>
                  <a:pt x="870214" y="1033858"/>
                  <a:pt x="872119" y="1031953"/>
                </a:cubicBezTo>
                <a:cubicBezTo>
                  <a:pt x="876881" y="1026238"/>
                  <a:pt x="875929" y="1024333"/>
                  <a:pt x="876881" y="1017666"/>
                </a:cubicBezTo>
                <a:cubicBezTo>
                  <a:pt x="875929" y="1007188"/>
                  <a:pt x="874024" y="997663"/>
                  <a:pt x="872119" y="987186"/>
                </a:cubicBezTo>
                <a:cubicBezTo>
                  <a:pt x="871166" y="982423"/>
                  <a:pt x="870214" y="977661"/>
                  <a:pt x="870214" y="971946"/>
                </a:cubicBezTo>
                <a:lnTo>
                  <a:pt x="870214" y="968136"/>
                </a:lnTo>
                <a:cubicBezTo>
                  <a:pt x="871166" y="964326"/>
                  <a:pt x="872119" y="957658"/>
                  <a:pt x="871166" y="950991"/>
                </a:cubicBezTo>
                <a:cubicBezTo>
                  <a:pt x="873071" y="941466"/>
                  <a:pt x="873071" y="941466"/>
                  <a:pt x="873071" y="934798"/>
                </a:cubicBezTo>
                <a:cubicBezTo>
                  <a:pt x="873071" y="928131"/>
                  <a:pt x="874976" y="924321"/>
                  <a:pt x="874976" y="917653"/>
                </a:cubicBezTo>
                <a:cubicBezTo>
                  <a:pt x="874976" y="911938"/>
                  <a:pt x="874976" y="910986"/>
                  <a:pt x="876881" y="907176"/>
                </a:cubicBezTo>
                <a:cubicBezTo>
                  <a:pt x="878786" y="903366"/>
                  <a:pt x="877834" y="903366"/>
                  <a:pt x="879739" y="900508"/>
                </a:cubicBezTo>
                <a:cubicBezTo>
                  <a:pt x="880691" y="897651"/>
                  <a:pt x="882596" y="890031"/>
                  <a:pt x="882596" y="882411"/>
                </a:cubicBezTo>
                <a:cubicBezTo>
                  <a:pt x="883549" y="875743"/>
                  <a:pt x="883549" y="871933"/>
                  <a:pt x="886406" y="867171"/>
                </a:cubicBezTo>
                <a:cubicBezTo>
                  <a:pt x="888311" y="862408"/>
                  <a:pt x="890216" y="858598"/>
                  <a:pt x="890216" y="850978"/>
                </a:cubicBezTo>
                <a:cubicBezTo>
                  <a:pt x="890216" y="846216"/>
                  <a:pt x="890216" y="843358"/>
                  <a:pt x="887359" y="840501"/>
                </a:cubicBezTo>
                <a:cubicBezTo>
                  <a:pt x="886406" y="839548"/>
                  <a:pt x="884501" y="838596"/>
                  <a:pt x="882596" y="837643"/>
                </a:cubicBezTo>
                <a:cubicBezTo>
                  <a:pt x="881644" y="836691"/>
                  <a:pt x="880691" y="836691"/>
                  <a:pt x="879739" y="835738"/>
                </a:cubicBezTo>
                <a:cubicBezTo>
                  <a:pt x="878786" y="834786"/>
                  <a:pt x="878786" y="833833"/>
                  <a:pt x="878786" y="832881"/>
                </a:cubicBezTo>
                <a:cubicBezTo>
                  <a:pt x="878786" y="832881"/>
                  <a:pt x="878786" y="828118"/>
                  <a:pt x="877834" y="825261"/>
                </a:cubicBezTo>
                <a:cubicBezTo>
                  <a:pt x="876881" y="821451"/>
                  <a:pt x="873071" y="823356"/>
                  <a:pt x="869261" y="824308"/>
                </a:cubicBezTo>
                <a:cubicBezTo>
                  <a:pt x="864499" y="825261"/>
                  <a:pt x="865451" y="825261"/>
                  <a:pt x="861641" y="822403"/>
                </a:cubicBezTo>
                <a:cubicBezTo>
                  <a:pt x="861641" y="822403"/>
                  <a:pt x="860689" y="821451"/>
                  <a:pt x="858784" y="818593"/>
                </a:cubicBezTo>
                <a:cubicBezTo>
                  <a:pt x="856879" y="816688"/>
                  <a:pt x="855926" y="815736"/>
                  <a:pt x="858784" y="813831"/>
                </a:cubicBezTo>
                <a:cubicBezTo>
                  <a:pt x="861641" y="811926"/>
                  <a:pt x="863546" y="812878"/>
                  <a:pt x="860689" y="810973"/>
                </a:cubicBezTo>
                <a:cubicBezTo>
                  <a:pt x="855926" y="808116"/>
                  <a:pt x="857831" y="804306"/>
                  <a:pt x="861641" y="802401"/>
                </a:cubicBezTo>
                <a:cubicBezTo>
                  <a:pt x="863546" y="801448"/>
                  <a:pt x="867356" y="803353"/>
                  <a:pt x="870214" y="803353"/>
                </a:cubicBezTo>
                <a:cubicBezTo>
                  <a:pt x="873071" y="802401"/>
                  <a:pt x="878786" y="800496"/>
                  <a:pt x="880691" y="797638"/>
                </a:cubicBezTo>
                <a:cubicBezTo>
                  <a:pt x="882596" y="795733"/>
                  <a:pt x="884501" y="795733"/>
                  <a:pt x="885454" y="797638"/>
                </a:cubicBezTo>
                <a:cubicBezTo>
                  <a:pt x="886406" y="801448"/>
                  <a:pt x="886406" y="804306"/>
                  <a:pt x="892121" y="800496"/>
                </a:cubicBezTo>
                <a:cubicBezTo>
                  <a:pt x="895931" y="797638"/>
                  <a:pt x="896884" y="795733"/>
                  <a:pt x="899741" y="798591"/>
                </a:cubicBezTo>
                <a:cubicBezTo>
                  <a:pt x="902599" y="801448"/>
                  <a:pt x="906409" y="802401"/>
                  <a:pt x="908314" y="801448"/>
                </a:cubicBezTo>
                <a:lnTo>
                  <a:pt x="910219" y="799543"/>
                </a:lnTo>
                <a:cubicBezTo>
                  <a:pt x="910219" y="799543"/>
                  <a:pt x="911171" y="797638"/>
                  <a:pt x="914981" y="796686"/>
                </a:cubicBezTo>
                <a:cubicBezTo>
                  <a:pt x="918791" y="795733"/>
                  <a:pt x="919744" y="795733"/>
                  <a:pt x="921649" y="798591"/>
                </a:cubicBezTo>
                <a:cubicBezTo>
                  <a:pt x="924506" y="802401"/>
                  <a:pt x="927364" y="800496"/>
                  <a:pt x="931174" y="801448"/>
                </a:cubicBezTo>
                <a:cubicBezTo>
                  <a:pt x="931174" y="801448"/>
                  <a:pt x="934984" y="802401"/>
                  <a:pt x="936889" y="801448"/>
                </a:cubicBezTo>
                <a:cubicBezTo>
                  <a:pt x="938794" y="800496"/>
                  <a:pt x="939746" y="800496"/>
                  <a:pt x="938794" y="797638"/>
                </a:cubicBezTo>
                <a:cubicBezTo>
                  <a:pt x="937841" y="794781"/>
                  <a:pt x="939746" y="793828"/>
                  <a:pt x="947366" y="801448"/>
                </a:cubicBezTo>
                <a:lnTo>
                  <a:pt x="950224" y="803353"/>
                </a:lnTo>
                <a:cubicBezTo>
                  <a:pt x="950224" y="803353"/>
                  <a:pt x="954034" y="807163"/>
                  <a:pt x="955939" y="805258"/>
                </a:cubicBezTo>
                <a:cubicBezTo>
                  <a:pt x="958796" y="803353"/>
                  <a:pt x="959749" y="803353"/>
                  <a:pt x="961654" y="804306"/>
                </a:cubicBezTo>
                <a:cubicBezTo>
                  <a:pt x="963559" y="805258"/>
                  <a:pt x="966416" y="805258"/>
                  <a:pt x="970226" y="804306"/>
                </a:cubicBezTo>
                <a:cubicBezTo>
                  <a:pt x="972131" y="804306"/>
                  <a:pt x="975941" y="802401"/>
                  <a:pt x="980704" y="801448"/>
                </a:cubicBezTo>
                <a:cubicBezTo>
                  <a:pt x="988324" y="799543"/>
                  <a:pt x="990229" y="801448"/>
                  <a:pt x="997849" y="802401"/>
                </a:cubicBezTo>
                <a:cubicBezTo>
                  <a:pt x="1001659" y="802401"/>
                  <a:pt x="1004516" y="803353"/>
                  <a:pt x="1007374" y="803353"/>
                </a:cubicBezTo>
                <a:cubicBezTo>
                  <a:pt x="1011184" y="803353"/>
                  <a:pt x="1014041" y="803353"/>
                  <a:pt x="1018804" y="799543"/>
                </a:cubicBezTo>
                <a:cubicBezTo>
                  <a:pt x="1023566" y="796686"/>
                  <a:pt x="1023566" y="796686"/>
                  <a:pt x="1029281" y="796686"/>
                </a:cubicBezTo>
                <a:cubicBezTo>
                  <a:pt x="1029281" y="796686"/>
                  <a:pt x="1030234" y="796686"/>
                  <a:pt x="1034996" y="797638"/>
                </a:cubicBezTo>
                <a:cubicBezTo>
                  <a:pt x="1039759" y="798591"/>
                  <a:pt x="1047379" y="799543"/>
                  <a:pt x="1049284" y="806211"/>
                </a:cubicBezTo>
                <a:cubicBezTo>
                  <a:pt x="1051189" y="809068"/>
                  <a:pt x="1054046" y="810973"/>
                  <a:pt x="1055951" y="813831"/>
                </a:cubicBezTo>
                <a:cubicBezTo>
                  <a:pt x="1056904" y="815736"/>
                  <a:pt x="1057856" y="815736"/>
                  <a:pt x="1057856" y="817641"/>
                </a:cubicBezTo>
                <a:cubicBezTo>
                  <a:pt x="1059761" y="824308"/>
                  <a:pt x="1066429" y="825261"/>
                  <a:pt x="1070239" y="825261"/>
                </a:cubicBezTo>
                <a:cubicBezTo>
                  <a:pt x="1074049" y="825261"/>
                  <a:pt x="1078811" y="825261"/>
                  <a:pt x="1082621" y="827166"/>
                </a:cubicBezTo>
                <a:cubicBezTo>
                  <a:pt x="1086431" y="829071"/>
                  <a:pt x="1089289" y="830976"/>
                  <a:pt x="1089289" y="830976"/>
                </a:cubicBezTo>
                <a:cubicBezTo>
                  <a:pt x="1091194" y="831928"/>
                  <a:pt x="1098814" y="837643"/>
                  <a:pt x="1100719" y="837643"/>
                </a:cubicBezTo>
                <a:cubicBezTo>
                  <a:pt x="1103576" y="838596"/>
                  <a:pt x="1111196" y="836691"/>
                  <a:pt x="1110244" y="830976"/>
                </a:cubicBezTo>
                <a:cubicBezTo>
                  <a:pt x="1110244" y="830976"/>
                  <a:pt x="1108339" y="825261"/>
                  <a:pt x="1108339" y="821451"/>
                </a:cubicBezTo>
                <a:cubicBezTo>
                  <a:pt x="1108339" y="817641"/>
                  <a:pt x="1106434" y="813831"/>
                  <a:pt x="1105481" y="810973"/>
                </a:cubicBezTo>
                <a:cubicBezTo>
                  <a:pt x="1104529" y="802401"/>
                  <a:pt x="1102624" y="803353"/>
                  <a:pt x="1096909" y="797638"/>
                </a:cubicBezTo>
                <a:cubicBezTo>
                  <a:pt x="1094051" y="794781"/>
                  <a:pt x="1093099" y="789066"/>
                  <a:pt x="1094051" y="783351"/>
                </a:cubicBezTo>
                <a:lnTo>
                  <a:pt x="1095004" y="781446"/>
                </a:lnTo>
                <a:cubicBezTo>
                  <a:pt x="1095004" y="781446"/>
                  <a:pt x="1095956" y="777636"/>
                  <a:pt x="1096909" y="773826"/>
                </a:cubicBezTo>
                <a:cubicBezTo>
                  <a:pt x="1098814" y="770016"/>
                  <a:pt x="1100719" y="766206"/>
                  <a:pt x="1102624" y="764301"/>
                </a:cubicBezTo>
                <a:cubicBezTo>
                  <a:pt x="1107386" y="758586"/>
                  <a:pt x="1108339" y="757633"/>
                  <a:pt x="1108339" y="750013"/>
                </a:cubicBezTo>
                <a:cubicBezTo>
                  <a:pt x="1108339" y="746203"/>
                  <a:pt x="1108339" y="744298"/>
                  <a:pt x="1113101" y="741441"/>
                </a:cubicBezTo>
                <a:cubicBezTo>
                  <a:pt x="1117864" y="739536"/>
                  <a:pt x="1119769" y="737631"/>
                  <a:pt x="1120721" y="736678"/>
                </a:cubicBezTo>
                <a:cubicBezTo>
                  <a:pt x="1123579" y="733821"/>
                  <a:pt x="1121674" y="732868"/>
                  <a:pt x="1124531" y="729058"/>
                </a:cubicBezTo>
                <a:cubicBezTo>
                  <a:pt x="1127389" y="725248"/>
                  <a:pt x="1128341" y="723343"/>
                  <a:pt x="1130246" y="720486"/>
                </a:cubicBezTo>
                <a:cubicBezTo>
                  <a:pt x="1133104" y="716676"/>
                  <a:pt x="1132151" y="714771"/>
                  <a:pt x="1135961" y="711913"/>
                </a:cubicBezTo>
                <a:cubicBezTo>
                  <a:pt x="1135961" y="711913"/>
                  <a:pt x="1139771" y="708103"/>
                  <a:pt x="1142629" y="704293"/>
                </a:cubicBezTo>
                <a:cubicBezTo>
                  <a:pt x="1145486" y="700483"/>
                  <a:pt x="1148344" y="696673"/>
                  <a:pt x="1150249" y="693816"/>
                </a:cubicBezTo>
                <a:lnTo>
                  <a:pt x="1154059" y="689053"/>
                </a:lnTo>
                <a:cubicBezTo>
                  <a:pt x="1154059" y="689053"/>
                  <a:pt x="1159774" y="684291"/>
                  <a:pt x="1161679" y="680481"/>
                </a:cubicBezTo>
                <a:cubicBezTo>
                  <a:pt x="1163584" y="676671"/>
                  <a:pt x="1165489" y="671908"/>
                  <a:pt x="1168346" y="669051"/>
                </a:cubicBezTo>
                <a:lnTo>
                  <a:pt x="1179776" y="649048"/>
                </a:lnTo>
                <a:cubicBezTo>
                  <a:pt x="1181681" y="645239"/>
                  <a:pt x="1184539" y="641428"/>
                  <a:pt x="1187396" y="636666"/>
                </a:cubicBezTo>
                <a:cubicBezTo>
                  <a:pt x="1192159" y="629999"/>
                  <a:pt x="1197874" y="624283"/>
                  <a:pt x="1202636" y="617617"/>
                </a:cubicBezTo>
                <a:cubicBezTo>
                  <a:pt x="1205494" y="612854"/>
                  <a:pt x="1210256" y="608092"/>
                  <a:pt x="1213114" y="603329"/>
                </a:cubicBezTo>
                <a:cubicBezTo>
                  <a:pt x="1214066" y="601423"/>
                  <a:pt x="1216924" y="594756"/>
                  <a:pt x="1218829" y="593803"/>
                </a:cubicBezTo>
                <a:cubicBezTo>
                  <a:pt x="1225496" y="591898"/>
                  <a:pt x="1230259" y="595708"/>
                  <a:pt x="1232164" y="601423"/>
                </a:cubicBezTo>
                <a:cubicBezTo>
                  <a:pt x="1233116" y="603329"/>
                  <a:pt x="1233116" y="605234"/>
                  <a:pt x="1236926" y="605234"/>
                </a:cubicBezTo>
                <a:cubicBezTo>
                  <a:pt x="1240736" y="605234"/>
                  <a:pt x="1241689" y="606186"/>
                  <a:pt x="1243594" y="609997"/>
                </a:cubicBezTo>
                <a:cubicBezTo>
                  <a:pt x="1245499" y="612854"/>
                  <a:pt x="1246451" y="613806"/>
                  <a:pt x="1246451" y="613806"/>
                </a:cubicBezTo>
                <a:cubicBezTo>
                  <a:pt x="1248356" y="615712"/>
                  <a:pt x="1250261" y="618568"/>
                  <a:pt x="1252166" y="619521"/>
                </a:cubicBezTo>
                <a:cubicBezTo>
                  <a:pt x="1255024" y="621426"/>
                  <a:pt x="1257881" y="621426"/>
                  <a:pt x="1257881" y="623332"/>
                </a:cubicBezTo>
                <a:cubicBezTo>
                  <a:pt x="1257881" y="625237"/>
                  <a:pt x="1255976" y="628094"/>
                  <a:pt x="1266454" y="630951"/>
                </a:cubicBezTo>
                <a:lnTo>
                  <a:pt x="1269311" y="632857"/>
                </a:lnTo>
                <a:cubicBezTo>
                  <a:pt x="1269311" y="632857"/>
                  <a:pt x="1271216" y="633808"/>
                  <a:pt x="1274074" y="636666"/>
                </a:cubicBezTo>
                <a:cubicBezTo>
                  <a:pt x="1276931" y="639523"/>
                  <a:pt x="1281694" y="644286"/>
                  <a:pt x="1284551" y="643333"/>
                </a:cubicBezTo>
                <a:cubicBezTo>
                  <a:pt x="1289314" y="641428"/>
                  <a:pt x="1293124" y="643333"/>
                  <a:pt x="1296934" y="646191"/>
                </a:cubicBezTo>
                <a:cubicBezTo>
                  <a:pt x="1298839" y="648097"/>
                  <a:pt x="1302649" y="650001"/>
                  <a:pt x="1305506" y="648097"/>
                </a:cubicBezTo>
                <a:cubicBezTo>
                  <a:pt x="1308364" y="646191"/>
                  <a:pt x="1310269" y="646191"/>
                  <a:pt x="1314079" y="647143"/>
                </a:cubicBezTo>
                <a:lnTo>
                  <a:pt x="1317889" y="648097"/>
                </a:lnTo>
                <a:cubicBezTo>
                  <a:pt x="1317889" y="648097"/>
                  <a:pt x="1320746" y="650001"/>
                  <a:pt x="1325509" y="650953"/>
                </a:cubicBezTo>
                <a:cubicBezTo>
                  <a:pt x="1330271" y="651906"/>
                  <a:pt x="1330271" y="650953"/>
                  <a:pt x="1335034" y="653811"/>
                </a:cubicBezTo>
                <a:cubicBezTo>
                  <a:pt x="1343606" y="659526"/>
                  <a:pt x="1348369" y="656668"/>
                  <a:pt x="1351226" y="657622"/>
                </a:cubicBezTo>
                <a:cubicBezTo>
                  <a:pt x="1354084" y="658573"/>
                  <a:pt x="1359799" y="660478"/>
                  <a:pt x="1360751" y="663336"/>
                </a:cubicBezTo>
                <a:cubicBezTo>
                  <a:pt x="1366466" y="671908"/>
                  <a:pt x="1367419" y="679528"/>
                  <a:pt x="1376944" y="671908"/>
                </a:cubicBezTo>
                <a:cubicBezTo>
                  <a:pt x="1383611" y="667146"/>
                  <a:pt x="1384564" y="665242"/>
                  <a:pt x="1390279" y="664288"/>
                </a:cubicBezTo>
                <a:cubicBezTo>
                  <a:pt x="1395994" y="663336"/>
                  <a:pt x="1396946" y="665242"/>
                  <a:pt x="1404566" y="664288"/>
                </a:cubicBezTo>
                <a:cubicBezTo>
                  <a:pt x="1412186" y="664288"/>
                  <a:pt x="1413139" y="664288"/>
                  <a:pt x="1418854" y="665242"/>
                </a:cubicBezTo>
                <a:cubicBezTo>
                  <a:pt x="1422664" y="665242"/>
                  <a:pt x="1428379" y="665242"/>
                  <a:pt x="1433141" y="664288"/>
                </a:cubicBezTo>
                <a:cubicBezTo>
                  <a:pt x="1435999" y="663336"/>
                  <a:pt x="1438856" y="661431"/>
                  <a:pt x="1440761" y="658573"/>
                </a:cubicBezTo>
                <a:cubicBezTo>
                  <a:pt x="1443619" y="654763"/>
                  <a:pt x="1444571" y="652859"/>
                  <a:pt x="1449334" y="650001"/>
                </a:cubicBezTo>
                <a:cubicBezTo>
                  <a:pt x="1454096" y="647143"/>
                  <a:pt x="1454096" y="642381"/>
                  <a:pt x="1453144" y="637619"/>
                </a:cubicBezTo>
                <a:cubicBezTo>
                  <a:pt x="1452191" y="632857"/>
                  <a:pt x="1455049" y="629999"/>
                  <a:pt x="1456001" y="627141"/>
                </a:cubicBezTo>
                <a:cubicBezTo>
                  <a:pt x="1457906" y="623332"/>
                  <a:pt x="1456954" y="621426"/>
                  <a:pt x="1454096" y="618568"/>
                </a:cubicBezTo>
                <a:cubicBezTo>
                  <a:pt x="1452191" y="615712"/>
                  <a:pt x="1453144" y="609997"/>
                  <a:pt x="1454096" y="606186"/>
                </a:cubicBezTo>
                <a:cubicBezTo>
                  <a:pt x="1455049" y="601423"/>
                  <a:pt x="1456001" y="595708"/>
                  <a:pt x="1456954" y="590946"/>
                </a:cubicBezTo>
                <a:cubicBezTo>
                  <a:pt x="1456954" y="589041"/>
                  <a:pt x="1457906" y="587136"/>
                  <a:pt x="1457906" y="586183"/>
                </a:cubicBezTo>
                <a:cubicBezTo>
                  <a:pt x="1458859" y="578563"/>
                  <a:pt x="1459811" y="572849"/>
                  <a:pt x="1461716" y="566181"/>
                </a:cubicBezTo>
                <a:cubicBezTo>
                  <a:pt x="1462669" y="562371"/>
                  <a:pt x="1462669" y="559513"/>
                  <a:pt x="1462669" y="555703"/>
                </a:cubicBezTo>
                <a:cubicBezTo>
                  <a:pt x="1463621" y="546178"/>
                  <a:pt x="1459811" y="546178"/>
                  <a:pt x="1465526" y="536653"/>
                </a:cubicBezTo>
                <a:cubicBezTo>
                  <a:pt x="1467431" y="533796"/>
                  <a:pt x="1468384" y="530938"/>
                  <a:pt x="1470289" y="528082"/>
                </a:cubicBezTo>
                <a:cubicBezTo>
                  <a:pt x="1473146" y="522367"/>
                  <a:pt x="1474099" y="521414"/>
                  <a:pt x="1477909" y="518556"/>
                </a:cubicBezTo>
                <a:cubicBezTo>
                  <a:pt x="1480766" y="515698"/>
                  <a:pt x="1480766" y="515698"/>
                  <a:pt x="1482671" y="513794"/>
                </a:cubicBezTo>
                <a:cubicBezTo>
                  <a:pt x="1484576" y="510936"/>
                  <a:pt x="1486481" y="508078"/>
                  <a:pt x="1488386" y="504268"/>
                </a:cubicBezTo>
                <a:cubicBezTo>
                  <a:pt x="1490291" y="500458"/>
                  <a:pt x="1496006" y="498553"/>
                  <a:pt x="1500769" y="497601"/>
                </a:cubicBezTo>
                <a:cubicBezTo>
                  <a:pt x="1506484" y="497601"/>
                  <a:pt x="1511246" y="498553"/>
                  <a:pt x="1516961" y="499506"/>
                </a:cubicBezTo>
                <a:cubicBezTo>
                  <a:pt x="1520771" y="500458"/>
                  <a:pt x="1527439" y="502363"/>
                  <a:pt x="1531249" y="504268"/>
                </a:cubicBezTo>
                <a:cubicBezTo>
                  <a:pt x="1534106" y="506173"/>
                  <a:pt x="1536964" y="505221"/>
                  <a:pt x="1539821" y="504268"/>
                </a:cubicBezTo>
                <a:cubicBezTo>
                  <a:pt x="1545536" y="503316"/>
                  <a:pt x="1549346" y="504268"/>
                  <a:pt x="1555061" y="503316"/>
                </a:cubicBezTo>
                <a:cubicBezTo>
                  <a:pt x="1558871" y="502363"/>
                  <a:pt x="1563634" y="501411"/>
                  <a:pt x="1568396" y="498553"/>
                </a:cubicBezTo>
                <a:cubicBezTo>
                  <a:pt x="1572206" y="496649"/>
                  <a:pt x="1575064" y="492838"/>
                  <a:pt x="1576969" y="489029"/>
                </a:cubicBezTo>
                <a:cubicBezTo>
                  <a:pt x="1577921" y="485218"/>
                  <a:pt x="1583636" y="484267"/>
                  <a:pt x="1587446" y="480456"/>
                </a:cubicBezTo>
                <a:cubicBezTo>
                  <a:pt x="1591256" y="476647"/>
                  <a:pt x="1592209" y="475693"/>
                  <a:pt x="1593161" y="471884"/>
                </a:cubicBezTo>
                <a:cubicBezTo>
                  <a:pt x="1594114" y="468073"/>
                  <a:pt x="1595066" y="467122"/>
                  <a:pt x="1597924" y="464264"/>
                </a:cubicBezTo>
                <a:cubicBezTo>
                  <a:pt x="1601734" y="460453"/>
                  <a:pt x="1599829" y="458548"/>
                  <a:pt x="1597924" y="455691"/>
                </a:cubicBezTo>
                <a:cubicBezTo>
                  <a:pt x="1596019" y="452833"/>
                  <a:pt x="1594114" y="451882"/>
                  <a:pt x="1596971" y="447119"/>
                </a:cubicBezTo>
                <a:cubicBezTo>
                  <a:pt x="1599829" y="441404"/>
                  <a:pt x="1597924" y="439499"/>
                  <a:pt x="1602686" y="437593"/>
                </a:cubicBezTo>
                <a:cubicBezTo>
                  <a:pt x="1607449" y="435688"/>
                  <a:pt x="1608401" y="433783"/>
                  <a:pt x="1611259" y="430926"/>
                </a:cubicBezTo>
                <a:cubicBezTo>
                  <a:pt x="1614116" y="428068"/>
                  <a:pt x="1614116" y="427117"/>
                  <a:pt x="1620784" y="427117"/>
                </a:cubicBezTo>
                <a:cubicBezTo>
                  <a:pt x="1627451" y="427117"/>
                  <a:pt x="1632214" y="429974"/>
                  <a:pt x="1636976" y="429974"/>
                </a:cubicBezTo>
                <a:cubicBezTo>
                  <a:pt x="1639834" y="429974"/>
                  <a:pt x="1641739" y="430926"/>
                  <a:pt x="1644596" y="433783"/>
                </a:cubicBezTo>
                <a:cubicBezTo>
                  <a:pt x="1648406" y="437593"/>
                  <a:pt x="1653169" y="439499"/>
                  <a:pt x="1656979" y="443308"/>
                </a:cubicBezTo>
                <a:cubicBezTo>
                  <a:pt x="1658884" y="445213"/>
                  <a:pt x="1662694" y="447119"/>
                  <a:pt x="1665551" y="445213"/>
                </a:cubicBezTo>
                <a:cubicBezTo>
                  <a:pt x="1668409" y="442357"/>
                  <a:pt x="1668409" y="440451"/>
                  <a:pt x="1668409" y="440451"/>
                </a:cubicBezTo>
                <a:cubicBezTo>
                  <a:pt x="1669361" y="435688"/>
                  <a:pt x="1674124" y="437593"/>
                  <a:pt x="1679839" y="437593"/>
                </a:cubicBezTo>
                <a:cubicBezTo>
                  <a:pt x="1684601" y="438546"/>
                  <a:pt x="1691269" y="437593"/>
                  <a:pt x="1693174" y="437593"/>
                </a:cubicBezTo>
                <a:cubicBezTo>
                  <a:pt x="1695079" y="437593"/>
                  <a:pt x="1697936" y="438546"/>
                  <a:pt x="1696984" y="441404"/>
                </a:cubicBezTo>
                <a:cubicBezTo>
                  <a:pt x="1696984" y="445213"/>
                  <a:pt x="1696984" y="449024"/>
                  <a:pt x="1696984" y="449977"/>
                </a:cubicBezTo>
                <a:cubicBezTo>
                  <a:pt x="1696984" y="449977"/>
                  <a:pt x="1697936" y="451882"/>
                  <a:pt x="1697936" y="454739"/>
                </a:cubicBezTo>
                <a:cubicBezTo>
                  <a:pt x="1696984" y="457597"/>
                  <a:pt x="1696031" y="459502"/>
                  <a:pt x="1696984" y="462359"/>
                </a:cubicBezTo>
                <a:cubicBezTo>
                  <a:pt x="1699841" y="469027"/>
                  <a:pt x="1690316" y="468073"/>
                  <a:pt x="1686506" y="470931"/>
                </a:cubicBezTo>
                <a:cubicBezTo>
                  <a:pt x="1683649" y="472836"/>
                  <a:pt x="1679839" y="476647"/>
                  <a:pt x="1683649" y="480456"/>
                </a:cubicBezTo>
                <a:cubicBezTo>
                  <a:pt x="1688411" y="485218"/>
                  <a:pt x="1692221" y="490933"/>
                  <a:pt x="1696984" y="495696"/>
                </a:cubicBezTo>
                <a:cubicBezTo>
                  <a:pt x="1700794" y="499506"/>
                  <a:pt x="1706509" y="503316"/>
                  <a:pt x="1703651" y="508078"/>
                </a:cubicBezTo>
                <a:cubicBezTo>
                  <a:pt x="1702699" y="510936"/>
                  <a:pt x="1699841" y="513794"/>
                  <a:pt x="1696984" y="516652"/>
                </a:cubicBezTo>
                <a:cubicBezTo>
                  <a:pt x="1695079" y="519509"/>
                  <a:pt x="1694126" y="521414"/>
                  <a:pt x="1696031" y="522367"/>
                </a:cubicBezTo>
                <a:cubicBezTo>
                  <a:pt x="1699841" y="524272"/>
                  <a:pt x="1702699" y="527129"/>
                  <a:pt x="1706509" y="529986"/>
                </a:cubicBezTo>
                <a:cubicBezTo>
                  <a:pt x="1710319" y="532844"/>
                  <a:pt x="1713176" y="534748"/>
                  <a:pt x="1716986" y="536653"/>
                </a:cubicBezTo>
                <a:cubicBezTo>
                  <a:pt x="1716986" y="536653"/>
                  <a:pt x="1720796" y="538559"/>
                  <a:pt x="1721749" y="541416"/>
                </a:cubicBezTo>
                <a:cubicBezTo>
                  <a:pt x="1722701" y="544273"/>
                  <a:pt x="1724606" y="549036"/>
                  <a:pt x="1729369" y="550941"/>
                </a:cubicBezTo>
                <a:cubicBezTo>
                  <a:pt x="1734131" y="552847"/>
                  <a:pt x="1737941" y="556657"/>
                  <a:pt x="1737941" y="558562"/>
                </a:cubicBezTo>
                <a:cubicBezTo>
                  <a:pt x="1743656" y="566181"/>
                  <a:pt x="1741751" y="563324"/>
                  <a:pt x="1739846" y="571896"/>
                </a:cubicBezTo>
                <a:cubicBezTo>
                  <a:pt x="1738894" y="575707"/>
                  <a:pt x="1740799" y="580469"/>
                  <a:pt x="1744609" y="584278"/>
                </a:cubicBezTo>
                <a:cubicBezTo>
                  <a:pt x="1746514" y="587136"/>
                  <a:pt x="1749371" y="589994"/>
                  <a:pt x="1751276" y="591898"/>
                </a:cubicBezTo>
                <a:cubicBezTo>
                  <a:pt x="1756039" y="596661"/>
                  <a:pt x="1762706" y="599518"/>
                  <a:pt x="1766516" y="605234"/>
                </a:cubicBezTo>
                <a:cubicBezTo>
                  <a:pt x="1771279" y="612854"/>
                  <a:pt x="1770326" y="614759"/>
                  <a:pt x="1779851" y="617617"/>
                </a:cubicBezTo>
                <a:cubicBezTo>
                  <a:pt x="1782709" y="618568"/>
                  <a:pt x="1785566" y="620474"/>
                  <a:pt x="1787471" y="622379"/>
                </a:cubicBezTo>
                <a:cubicBezTo>
                  <a:pt x="1792234" y="625237"/>
                  <a:pt x="1794139" y="626188"/>
                  <a:pt x="1798901" y="621426"/>
                </a:cubicBezTo>
                <a:cubicBezTo>
                  <a:pt x="1800806" y="619521"/>
                  <a:pt x="1802711" y="617617"/>
                  <a:pt x="1805569" y="619521"/>
                </a:cubicBezTo>
                <a:cubicBezTo>
                  <a:pt x="1811284" y="624283"/>
                  <a:pt x="1816046" y="619521"/>
                  <a:pt x="1822714" y="625237"/>
                </a:cubicBezTo>
                <a:cubicBezTo>
                  <a:pt x="1822714" y="625237"/>
                  <a:pt x="1824619" y="629999"/>
                  <a:pt x="1824619" y="632857"/>
                </a:cubicBezTo>
                <a:cubicBezTo>
                  <a:pt x="1824619" y="635713"/>
                  <a:pt x="1825571" y="639523"/>
                  <a:pt x="1828429" y="642381"/>
                </a:cubicBezTo>
                <a:cubicBezTo>
                  <a:pt x="1831286" y="645239"/>
                  <a:pt x="1833191" y="645239"/>
                  <a:pt x="1833191" y="647143"/>
                </a:cubicBezTo>
                <a:cubicBezTo>
                  <a:pt x="1833191" y="652859"/>
                  <a:pt x="1840811" y="654763"/>
                  <a:pt x="1845574" y="653811"/>
                </a:cubicBezTo>
                <a:cubicBezTo>
                  <a:pt x="1851289" y="651906"/>
                  <a:pt x="1849384" y="650001"/>
                  <a:pt x="1855099" y="650001"/>
                </a:cubicBezTo>
                <a:cubicBezTo>
                  <a:pt x="1858909" y="650001"/>
                  <a:pt x="1859861" y="650953"/>
                  <a:pt x="1857956" y="659526"/>
                </a:cubicBezTo>
                <a:lnTo>
                  <a:pt x="1857956" y="666193"/>
                </a:lnTo>
                <a:cubicBezTo>
                  <a:pt x="1857956" y="666193"/>
                  <a:pt x="1859861" y="671908"/>
                  <a:pt x="1864624" y="673813"/>
                </a:cubicBezTo>
                <a:cubicBezTo>
                  <a:pt x="1869386" y="675718"/>
                  <a:pt x="1873196" y="678576"/>
                  <a:pt x="1875101" y="680481"/>
                </a:cubicBezTo>
                <a:cubicBezTo>
                  <a:pt x="1882721" y="687148"/>
                  <a:pt x="1877959" y="683338"/>
                  <a:pt x="1878911" y="691911"/>
                </a:cubicBezTo>
                <a:cubicBezTo>
                  <a:pt x="1878911" y="695721"/>
                  <a:pt x="1878911" y="696673"/>
                  <a:pt x="1881769" y="699531"/>
                </a:cubicBezTo>
                <a:cubicBezTo>
                  <a:pt x="1884626" y="702388"/>
                  <a:pt x="1883674" y="705246"/>
                  <a:pt x="1883674" y="708103"/>
                </a:cubicBezTo>
                <a:lnTo>
                  <a:pt x="1883674" y="713818"/>
                </a:lnTo>
                <a:cubicBezTo>
                  <a:pt x="1883674" y="713818"/>
                  <a:pt x="1882721" y="717628"/>
                  <a:pt x="1884626" y="719533"/>
                </a:cubicBezTo>
                <a:cubicBezTo>
                  <a:pt x="1886531" y="722391"/>
                  <a:pt x="1886531" y="727153"/>
                  <a:pt x="1884626" y="730011"/>
                </a:cubicBezTo>
                <a:cubicBezTo>
                  <a:pt x="1882721" y="732868"/>
                  <a:pt x="1883674" y="736678"/>
                  <a:pt x="1883674" y="738583"/>
                </a:cubicBezTo>
                <a:lnTo>
                  <a:pt x="1884626" y="744298"/>
                </a:lnTo>
                <a:cubicBezTo>
                  <a:pt x="1884626" y="744298"/>
                  <a:pt x="1885579" y="750966"/>
                  <a:pt x="1886531" y="752871"/>
                </a:cubicBezTo>
                <a:cubicBezTo>
                  <a:pt x="1887484" y="755728"/>
                  <a:pt x="1892246" y="763348"/>
                  <a:pt x="1893199" y="765253"/>
                </a:cubicBezTo>
                <a:lnTo>
                  <a:pt x="1894151" y="770968"/>
                </a:lnTo>
                <a:cubicBezTo>
                  <a:pt x="1894151" y="770968"/>
                  <a:pt x="1896056" y="776683"/>
                  <a:pt x="1899866" y="779541"/>
                </a:cubicBezTo>
                <a:cubicBezTo>
                  <a:pt x="1903676" y="782398"/>
                  <a:pt x="1906534" y="783351"/>
                  <a:pt x="1907486" y="786208"/>
                </a:cubicBezTo>
                <a:cubicBezTo>
                  <a:pt x="1908439" y="788113"/>
                  <a:pt x="1909391" y="790018"/>
                  <a:pt x="1909391" y="790018"/>
                </a:cubicBezTo>
                <a:cubicBezTo>
                  <a:pt x="1910344" y="794781"/>
                  <a:pt x="1909391" y="800496"/>
                  <a:pt x="1911296" y="805258"/>
                </a:cubicBezTo>
                <a:cubicBezTo>
                  <a:pt x="1912249" y="809068"/>
                  <a:pt x="1912249" y="810973"/>
                  <a:pt x="1915106" y="812878"/>
                </a:cubicBezTo>
                <a:cubicBezTo>
                  <a:pt x="1917964" y="814783"/>
                  <a:pt x="1917964" y="816688"/>
                  <a:pt x="1917964" y="818593"/>
                </a:cubicBezTo>
                <a:lnTo>
                  <a:pt x="1917011" y="824308"/>
                </a:lnTo>
                <a:cubicBezTo>
                  <a:pt x="1917011" y="824308"/>
                  <a:pt x="1914154" y="830023"/>
                  <a:pt x="1912249" y="832881"/>
                </a:cubicBezTo>
                <a:cubicBezTo>
                  <a:pt x="1911296" y="835738"/>
                  <a:pt x="1909391" y="836691"/>
                  <a:pt x="1912249" y="838596"/>
                </a:cubicBezTo>
                <a:cubicBezTo>
                  <a:pt x="1915106" y="840501"/>
                  <a:pt x="1916059" y="844311"/>
                  <a:pt x="1910344" y="850978"/>
                </a:cubicBezTo>
                <a:lnTo>
                  <a:pt x="1907486" y="855741"/>
                </a:lnTo>
                <a:cubicBezTo>
                  <a:pt x="1907486" y="855741"/>
                  <a:pt x="1904629" y="859551"/>
                  <a:pt x="1902724" y="862408"/>
                </a:cubicBezTo>
                <a:cubicBezTo>
                  <a:pt x="1900819" y="865266"/>
                  <a:pt x="1895104" y="870028"/>
                  <a:pt x="1895104" y="877648"/>
                </a:cubicBezTo>
                <a:lnTo>
                  <a:pt x="1895104" y="882411"/>
                </a:lnTo>
                <a:cubicBezTo>
                  <a:pt x="1895104" y="882411"/>
                  <a:pt x="1896056" y="892888"/>
                  <a:pt x="1897009" y="895746"/>
                </a:cubicBezTo>
                <a:cubicBezTo>
                  <a:pt x="1897009" y="898603"/>
                  <a:pt x="1898914" y="908128"/>
                  <a:pt x="1897961" y="910986"/>
                </a:cubicBezTo>
                <a:lnTo>
                  <a:pt x="1896056" y="914796"/>
                </a:lnTo>
                <a:cubicBezTo>
                  <a:pt x="1896056" y="914796"/>
                  <a:pt x="1892246" y="920511"/>
                  <a:pt x="1889389" y="922416"/>
                </a:cubicBezTo>
                <a:cubicBezTo>
                  <a:pt x="1883674" y="926226"/>
                  <a:pt x="1879864" y="928131"/>
                  <a:pt x="1876054" y="930988"/>
                </a:cubicBezTo>
                <a:cubicBezTo>
                  <a:pt x="1872244" y="933846"/>
                  <a:pt x="1868434" y="937656"/>
                  <a:pt x="1864624" y="944323"/>
                </a:cubicBezTo>
                <a:cubicBezTo>
                  <a:pt x="1861766" y="949086"/>
                  <a:pt x="1857956" y="956706"/>
                  <a:pt x="1857004" y="958611"/>
                </a:cubicBezTo>
                <a:cubicBezTo>
                  <a:pt x="1856051" y="961468"/>
                  <a:pt x="1855099" y="963373"/>
                  <a:pt x="1854146" y="966231"/>
                </a:cubicBezTo>
                <a:cubicBezTo>
                  <a:pt x="1853194" y="968136"/>
                  <a:pt x="1853194" y="970993"/>
                  <a:pt x="1854146" y="973851"/>
                </a:cubicBezTo>
                <a:cubicBezTo>
                  <a:pt x="1854146" y="976708"/>
                  <a:pt x="1855099" y="979566"/>
                  <a:pt x="1857004" y="982423"/>
                </a:cubicBezTo>
                <a:cubicBezTo>
                  <a:pt x="1857956" y="985281"/>
                  <a:pt x="1859861" y="988138"/>
                  <a:pt x="1860814" y="990996"/>
                </a:cubicBezTo>
                <a:cubicBezTo>
                  <a:pt x="1860814" y="990996"/>
                  <a:pt x="1862719" y="998616"/>
                  <a:pt x="1862719" y="1002426"/>
                </a:cubicBezTo>
                <a:cubicBezTo>
                  <a:pt x="1862719" y="1006236"/>
                  <a:pt x="1862719" y="1007188"/>
                  <a:pt x="1864624" y="1010046"/>
                </a:cubicBezTo>
                <a:cubicBezTo>
                  <a:pt x="1866529" y="1011951"/>
                  <a:pt x="1867481" y="1015761"/>
                  <a:pt x="1864624" y="1018618"/>
                </a:cubicBezTo>
                <a:cubicBezTo>
                  <a:pt x="1857004" y="1027191"/>
                  <a:pt x="1874149" y="1022428"/>
                  <a:pt x="1875101" y="1021476"/>
                </a:cubicBezTo>
                <a:cubicBezTo>
                  <a:pt x="1878911" y="1021476"/>
                  <a:pt x="1889389" y="1021476"/>
                  <a:pt x="1891294" y="1028143"/>
                </a:cubicBezTo>
                <a:cubicBezTo>
                  <a:pt x="1897009" y="1037668"/>
                  <a:pt x="1897009" y="1031001"/>
                  <a:pt x="1904629" y="1035763"/>
                </a:cubicBezTo>
                <a:cubicBezTo>
                  <a:pt x="1907486" y="1037668"/>
                  <a:pt x="1909391" y="1040526"/>
                  <a:pt x="1912249" y="1038621"/>
                </a:cubicBezTo>
                <a:cubicBezTo>
                  <a:pt x="1915106" y="1035763"/>
                  <a:pt x="1917011" y="1034811"/>
                  <a:pt x="1917964" y="1039573"/>
                </a:cubicBezTo>
                <a:cubicBezTo>
                  <a:pt x="1921774" y="1050051"/>
                  <a:pt x="1920821" y="1045288"/>
                  <a:pt x="1929394" y="1050051"/>
                </a:cubicBezTo>
                <a:cubicBezTo>
                  <a:pt x="1936061" y="1053861"/>
                  <a:pt x="1941776" y="1053861"/>
                  <a:pt x="1948444" y="1053861"/>
                </a:cubicBezTo>
                <a:cubicBezTo>
                  <a:pt x="1948444" y="1053861"/>
                  <a:pt x="1953206" y="1053861"/>
                  <a:pt x="1957969" y="1053861"/>
                </a:cubicBezTo>
                <a:cubicBezTo>
                  <a:pt x="1962731" y="1053861"/>
                  <a:pt x="1970351" y="1054813"/>
                  <a:pt x="1972256" y="1057671"/>
                </a:cubicBezTo>
                <a:cubicBezTo>
                  <a:pt x="1975114" y="1061481"/>
                  <a:pt x="1978924" y="1067196"/>
                  <a:pt x="1983686" y="1067196"/>
                </a:cubicBezTo>
                <a:cubicBezTo>
                  <a:pt x="1989401" y="1067196"/>
                  <a:pt x="1997021" y="1073863"/>
                  <a:pt x="2001784" y="1073863"/>
                </a:cubicBezTo>
                <a:cubicBezTo>
                  <a:pt x="2008451" y="1075768"/>
                  <a:pt x="2010356" y="1072911"/>
                  <a:pt x="2017976" y="1072911"/>
                </a:cubicBezTo>
                <a:cubicBezTo>
                  <a:pt x="2022739" y="1072911"/>
                  <a:pt x="2026549" y="1072911"/>
                  <a:pt x="2031311" y="1072911"/>
                </a:cubicBezTo>
                <a:cubicBezTo>
                  <a:pt x="2033216" y="1072911"/>
                  <a:pt x="2035121" y="1072911"/>
                  <a:pt x="2037026" y="1072911"/>
                </a:cubicBezTo>
                <a:cubicBezTo>
                  <a:pt x="2037026" y="1072911"/>
                  <a:pt x="2042741" y="1072911"/>
                  <a:pt x="2046551" y="1073863"/>
                </a:cubicBezTo>
                <a:cubicBezTo>
                  <a:pt x="2049409" y="1074816"/>
                  <a:pt x="2051314" y="1074816"/>
                  <a:pt x="2053219" y="1076721"/>
                </a:cubicBezTo>
                <a:cubicBezTo>
                  <a:pt x="2057029" y="1079578"/>
                  <a:pt x="2062744" y="1079578"/>
                  <a:pt x="2067506" y="1080531"/>
                </a:cubicBezTo>
                <a:cubicBezTo>
                  <a:pt x="2067506" y="1080531"/>
                  <a:pt x="2075126" y="1081483"/>
                  <a:pt x="2077984" y="1083388"/>
                </a:cubicBezTo>
                <a:cubicBezTo>
                  <a:pt x="2080841" y="1084341"/>
                  <a:pt x="2082746" y="1086246"/>
                  <a:pt x="2087509" y="1086246"/>
                </a:cubicBezTo>
                <a:cubicBezTo>
                  <a:pt x="2091319" y="1087198"/>
                  <a:pt x="2092271" y="1088151"/>
                  <a:pt x="2094176" y="1089103"/>
                </a:cubicBezTo>
                <a:cubicBezTo>
                  <a:pt x="2099891" y="1092913"/>
                  <a:pt x="2104654" y="1091008"/>
                  <a:pt x="2107511" y="1093866"/>
                </a:cubicBezTo>
                <a:cubicBezTo>
                  <a:pt x="2110369" y="1095771"/>
                  <a:pt x="2114179" y="1096723"/>
                  <a:pt x="2114179" y="1099581"/>
                </a:cubicBezTo>
                <a:cubicBezTo>
                  <a:pt x="2115131" y="1102438"/>
                  <a:pt x="2117989" y="1105296"/>
                  <a:pt x="2119894" y="1107201"/>
                </a:cubicBezTo>
                <a:lnTo>
                  <a:pt x="2123704" y="1111963"/>
                </a:lnTo>
                <a:cubicBezTo>
                  <a:pt x="2123704" y="1111963"/>
                  <a:pt x="2128466" y="1116726"/>
                  <a:pt x="2132276" y="1118631"/>
                </a:cubicBezTo>
                <a:cubicBezTo>
                  <a:pt x="2136086" y="1120536"/>
                  <a:pt x="2141801" y="1124346"/>
                  <a:pt x="2143706" y="1126251"/>
                </a:cubicBezTo>
                <a:lnTo>
                  <a:pt x="2147516" y="1130061"/>
                </a:lnTo>
                <a:cubicBezTo>
                  <a:pt x="2147516" y="1130061"/>
                  <a:pt x="2152279" y="1133868"/>
                  <a:pt x="2154184" y="1135773"/>
                </a:cubicBezTo>
                <a:cubicBezTo>
                  <a:pt x="2156089" y="1137678"/>
                  <a:pt x="2160851" y="1142440"/>
                  <a:pt x="2161804" y="1144345"/>
                </a:cubicBezTo>
                <a:cubicBezTo>
                  <a:pt x="2162756" y="1146250"/>
                  <a:pt x="2164661" y="1148155"/>
                  <a:pt x="2164661" y="1148155"/>
                </a:cubicBezTo>
                <a:lnTo>
                  <a:pt x="2168471" y="1152918"/>
                </a:lnTo>
                <a:cubicBezTo>
                  <a:pt x="2168471" y="1152918"/>
                  <a:pt x="2171329" y="1156728"/>
                  <a:pt x="2171329" y="1159585"/>
                </a:cubicBezTo>
                <a:cubicBezTo>
                  <a:pt x="2171329" y="1162443"/>
                  <a:pt x="2170376" y="1163395"/>
                  <a:pt x="2176091" y="1165300"/>
                </a:cubicBezTo>
                <a:cubicBezTo>
                  <a:pt x="2181806" y="1167205"/>
                  <a:pt x="2183711" y="1168158"/>
                  <a:pt x="2184664" y="1170063"/>
                </a:cubicBezTo>
                <a:lnTo>
                  <a:pt x="2188474" y="1176730"/>
                </a:lnTo>
                <a:cubicBezTo>
                  <a:pt x="2188474" y="1176730"/>
                  <a:pt x="2193236" y="1181493"/>
                  <a:pt x="2195141" y="1185303"/>
                </a:cubicBezTo>
                <a:cubicBezTo>
                  <a:pt x="2197046" y="1189113"/>
                  <a:pt x="2200856" y="1194828"/>
                  <a:pt x="2204666" y="1196733"/>
                </a:cubicBezTo>
                <a:lnTo>
                  <a:pt x="2208476" y="1199590"/>
                </a:lnTo>
                <a:cubicBezTo>
                  <a:pt x="2208476" y="1199590"/>
                  <a:pt x="2214191" y="1202448"/>
                  <a:pt x="2218001" y="1204353"/>
                </a:cubicBezTo>
                <a:cubicBezTo>
                  <a:pt x="2222764" y="1207210"/>
                  <a:pt x="2224669" y="1209115"/>
                  <a:pt x="2227526" y="1210068"/>
                </a:cubicBezTo>
                <a:cubicBezTo>
                  <a:pt x="2229431" y="1211020"/>
                  <a:pt x="2232289" y="1211020"/>
                  <a:pt x="2236099" y="1211973"/>
                </a:cubicBezTo>
                <a:cubicBezTo>
                  <a:pt x="2236099" y="1211973"/>
                  <a:pt x="2243719" y="1211973"/>
                  <a:pt x="2248481" y="1211973"/>
                </a:cubicBezTo>
                <a:cubicBezTo>
                  <a:pt x="2253244" y="1212925"/>
                  <a:pt x="2261816" y="1211973"/>
                  <a:pt x="2261816" y="1211973"/>
                </a:cubicBezTo>
                <a:cubicBezTo>
                  <a:pt x="2269436" y="1212925"/>
                  <a:pt x="2268484" y="1213878"/>
                  <a:pt x="2262769" y="1220545"/>
                </a:cubicBezTo>
                <a:cubicBezTo>
                  <a:pt x="2258959" y="1224355"/>
                  <a:pt x="2258006" y="1227213"/>
                  <a:pt x="2258006" y="1230070"/>
                </a:cubicBezTo>
                <a:cubicBezTo>
                  <a:pt x="2258006" y="1232928"/>
                  <a:pt x="2256101" y="1237690"/>
                  <a:pt x="2256101" y="1239595"/>
                </a:cubicBezTo>
                <a:cubicBezTo>
                  <a:pt x="2253244" y="1245310"/>
                  <a:pt x="2252291" y="1248168"/>
                  <a:pt x="2260864" y="1249120"/>
                </a:cubicBezTo>
                <a:cubicBezTo>
                  <a:pt x="2270389" y="1250073"/>
                  <a:pt x="2273246" y="1256740"/>
                  <a:pt x="2274199" y="1263408"/>
                </a:cubicBezTo>
                <a:cubicBezTo>
                  <a:pt x="2275151" y="1268170"/>
                  <a:pt x="2275151" y="1273885"/>
                  <a:pt x="2276104" y="1278648"/>
                </a:cubicBezTo>
                <a:cubicBezTo>
                  <a:pt x="2277056" y="1283410"/>
                  <a:pt x="2278009" y="1288173"/>
                  <a:pt x="2278961" y="1293888"/>
                </a:cubicBezTo>
                <a:cubicBezTo>
                  <a:pt x="2279914" y="1299603"/>
                  <a:pt x="2281819" y="1305318"/>
                  <a:pt x="2282771" y="1310080"/>
                </a:cubicBezTo>
                <a:cubicBezTo>
                  <a:pt x="2284676" y="1314843"/>
                  <a:pt x="2285629" y="1321510"/>
                  <a:pt x="2286581" y="1325320"/>
                </a:cubicBezTo>
                <a:lnTo>
                  <a:pt x="2287534" y="1331035"/>
                </a:lnTo>
                <a:cubicBezTo>
                  <a:pt x="2287534" y="1331035"/>
                  <a:pt x="2288486" y="1338655"/>
                  <a:pt x="2288486" y="1341513"/>
                </a:cubicBezTo>
                <a:cubicBezTo>
                  <a:pt x="2288486" y="1346275"/>
                  <a:pt x="2288486" y="1350085"/>
                  <a:pt x="2289439" y="1354848"/>
                </a:cubicBezTo>
                <a:cubicBezTo>
                  <a:pt x="2291344" y="1360563"/>
                  <a:pt x="2294201" y="1362468"/>
                  <a:pt x="2297059" y="1367230"/>
                </a:cubicBezTo>
                <a:cubicBezTo>
                  <a:pt x="2298964" y="1370088"/>
                  <a:pt x="2303726" y="1376755"/>
                  <a:pt x="2305631" y="1378660"/>
                </a:cubicBezTo>
                <a:lnTo>
                  <a:pt x="2308489" y="1382470"/>
                </a:lnTo>
                <a:cubicBezTo>
                  <a:pt x="2308489" y="1382470"/>
                  <a:pt x="2312299" y="1387233"/>
                  <a:pt x="2315156" y="1391043"/>
                </a:cubicBezTo>
                <a:cubicBezTo>
                  <a:pt x="2318014" y="1394853"/>
                  <a:pt x="2320871" y="1399615"/>
                  <a:pt x="2322776" y="1401520"/>
                </a:cubicBezTo>
                <a:lnTo>
                  <a:pt x="2326586" y="1407235"/>
                </a:lnTo>
                <a:cubicBezTo>
                  <a:pt x="2326586" y="1407235"/>
                  <a:pt x="2329444" y="1410093"/>
                  <a:pt x="2329444" y="1415808"/>
                </a:cubicBezTo>
                <a:cubicBezTo>
                  <a:pt x="2329444" y="1418665"/>
                  <a:pt x="2330396" y="1421523"/>
                  <a:pt x="2330396" y="1424380"/>
                </a:cubicBezTo>
                <a:cubicBezTo>
                  <a:pt x="2331349" y="1432953"/>
                  <a:pt x="2328491" y="1436763"/>
                  <a:pt x="2339921" y="1436763"/>
                </a:cubicBezTo>
                <a:cubicBezTo>
                  <a:pt x="2344684" y="1436763"/>
                  <a:pt x="2349446" y="1436763"/>
                  <a:pt x="2354209" y="1437715"/>
                </a:cubicBezTo>
                <a:cubicBezTo>
                  <a:pt x="2359924" y="1437715"/>
                  <a:pt x="2365639" y="1438668"/>
                  <a:pt x="2371354" y="1438668"/>
                </a:cubicBezTo>
                <a:cubicBezTo>
                  <a:pt x="2378021" y="1438668"/>
                  <a:pt x="2383736" y="1438668"/>
                  <a:pt x="2390404" y="1437715"/>
                </a:cubicBezTo>
                <a:cubicBezTo>
                  <a:pt x="2390404" y="1437715"/>
                  <a:pt x="2399929" y="1435810"/>
                  <a:pt x="2404691" y="1436763"/>
                </a:cubicBezTo>
                <a:cubicBezTo>
                  <a:pt x="2409454" y="1436763"/>
                  <a:pt x="2417074" y="1438668"/>
                  <a:pt x="2419931" y="1440573"/>
                </a:cubicBezTo>
                <a:lnTo>
                  <a:pt x="2423741" y="1442478"/>
                </a:lnTo>
                <a:cubicBezTo>
                  <a:pt x="2423741" y="1442478"/>
                  <a:pt x="2429456" y="1445335"/>
                  <a:pt x="2435171" y="1447240"/>
                </a:cubicBezTo>
                <a:cubicBezTo>
                  <a:pt x="2441839" y="1449145"/>
                  <a:pt x="2446601" y="1451050"/>
                  <a:pt x="2451364" y="1452955"/>
                </a:cubicBezTo>
                <a:cubicBezTo>
                  <a:pt x="2453269" y="1453908"/>
                  <a:pt x="2455174" y="1454860"/>
                  <a:pt x="2456126" y="1455813"/>
                </a:cubicBezTo>
                <a:cubicBezTo>
                  <a:pt x="2456126" y="1455813"/>
                  <a:pt x="2464699" y="1458670"/>
                  <a:pt x="2470414" y="1460575"/>
                </a:cubicBezTo>
                <a:cubicBezTo>
                  <a:pt x="2476129" y="1462480"/>
                  <a:pt x="2480891" y="1464385"/>
                  <a:pt x="2485654" y="1466290"/>
                </a:cubicBezTo>
                <a:cubicBezTo>
                  <a:pt x="2490416" y="1468195"/>
                  <a:pt x="2494226" y="1469148"/>
                  <a:pt x="2498989" y="1470100"/>
                </a:cubicBezTo>
                <a:cubicBezTo>
                  <a:pt x="2504704" y="1471053"/>
                  <a:pt x="2509466" y="1472005"/>
                  <a:pt x="2515181" y="1472958"/>
                </a:cubicBezTo>
                <a:cubicBezTo>
                  <a:pt x="2518991" y="1473910"/>
                  <a:pt x="2523754" y="1474863"/>
                  <a:pt x="2527564" y="1475815"/>
                </a:cubicBezTo>
                <a:cubicBezTo>
                  <a:pt x="2527564" y="1475815"/>
                  <a:pt x="2535184" y="1477720"/>
                  <a:pt x="2538994" y="1478673"/>
                </a:cubicBezTo>
                <a:cubicBezTo>
                  <a:pt x="2544709" y="1479625"/>
                  <a:pt x="2550424" y="1480578"/>
                  <a:pt x="2555186" y="1481530"/>
                </a:cubicBezTo>
                <a:cubicBezTo>
                  <a:pt x="2558996" y="1482483"/>
                  <a:pt x="2562806" y="1483435"/>
                  <a:pt x="2566616" y="1484388"/>
                </a:cubicBezTo>
                <a:cubicBezTo>
                  <a:pt x="2566616" y="1484388"/>
                  <a:pt x="2575189" y="1486293"/>
                  <a:pt x="2578999" y="1487245"/>
                </a:cubicBezTo>
                <a:cubicBezTo>
                  <a:pt x="2582809" y="1488198"/>
                  <a:pt x="2590429" y="1490103"/>
                  <a:pt x="2594239" y="1490103"/>
                </a:cubicBezTo>
                <a:cubicBezTo>
                  <a:pt x="2600906" y="1490103"/>
                  <a:pt x="2604716" y="1491055"/>
                  <a:pt x="2610431" y="1492960"/>
                </a:cubicBezTo>
                <a:cubicBezTo>
                  <a:pt x="2610431" y="1492960"/>
                  <a:pt x="2619004" y="1493913"/>
                  <a:pt x="2623766" y="1493913"/>
                </a:cubicBezTo>
                <a:cubicBezTo>
                  <a:pt x="2631386" y="1493913"/>
                  <a:pt x="2638054" y="1492960"/>
                  <a:pt x="2645674" y="1492008"/>
                </a:cubicBezTo>
                <a:cubicBezTo>
                  <a:pt x="2645674" y="1492008"/>
                  <a:pt x="2654246" y="1492008"/>
                  <a:pt x="2657104" y="1491055"/>
                </a:cubicBezTo>
                <a:cubicBezTo>
                  <a:pt x="2663771" y="1489150"/>
                  <a:pt x="2669486" y="1489150"/>
                  <a:pt x="2675201" y="1490103"/>
                </a:cubicBezTo>
                <a:cubicBezTo>
                  <a:pt x="2675201" y="1490103"/>
                  <a:pt x="2679964" y="1490103"/>
                  <a:pt x="2683774" y="1490103"/>
                </a:cubicBezTo>
                <a:cubicBezTo>
                  <a:pt x="2686631" y="1490103"/>
                  <a:pt x="2694251" y="1491055"/>
                  <a:pt x="2696156" y="1489150"/>
                </a:cubicBezTo>
                <a:cubicBezTo>
                  <a:pt x="2699014" y="1487245"/>
                  <a:pt x="2701871" y="1486293"/>
                  <a:pt x="2704729" y="1486293"/>
                </a:cubicBezTo>
                <a:cubicBezTo>
                  <a:pt x="2710444" y="1485340"/>
                  <a:pt x="2716159" y="1487245"/>
                  <a:pt x="2721874" y="1487245"/>
                </a:cubicBezTo>
                <a:cubicBezTo>
                  <a:pt x="2726636" y="1487245"/>
                  <a:pt x="2730446" y="1487245"/>
                  <a:pt x="2733304" y="1488198"/>
                </a:cubicBezTo>
                <a:cubicBezTo>
                  <a:pt x="2737114" y="1488198"/>
                  <a:pt x="2739971" y="1489150"/>
                  <a:pt x="2742829" y="1490103"/>
                </a:cubicBezTo>
                <a:cubicBezTo>
                  <a:pt x="2745686" y="1491055"/>
                  <a:pt x="2747591" y="1492008"/>
                  <a:pt x="2750449" y="1492960"/>
                </a:cubicBezTo>
                <a:cubicBezTo>
                  <a:pt x="2753306" y="1493913"/>
                  <a:pt x="2756164" y="1494865"/>
                  <a:pt x="2759974" y="1495818"/>
                </a:cubicBezTo>
                <a:cubicBezTo>
                  <a:pt x="2764736" y="1496770"/>
                  <a:pt x="2776166" y="1501533"/>
                  <a:pt x="2779024" y="1502485"/>
                </a:cubicBezTo>
                <a:lnTo>
                  <a:pt x="2783786" y="1504390"/>
                </a:lnTo>
                <a:cubicBezTo>
                  <a:pt x="2783786" y="1504390"/>
                  <a:pt x="2789501" y="1508200"/>
                  <a:pt x="2796169" y="1509153"/>
                </a:cubicBezTo>
                <a:cubicBezTo>
                  <a:pt x="2801884" y="1511058"/>
                  <a:pt x="2807599" y="1512963"/>
                  <a:pt x="2812361" y="1514868"/>
                </a:cubicBezTo>
                <a:cubicBezTo>
                  <a:pt x="2817124" y="1516773"/>
                  <a:pt x="2822839" y="1518678"/>
                  <a:pt x="2827601" y="1520583"/>
                </a:cubicBezTo>
                <a:cubicBezTo>
                  <a:pt x="2831411" y="1521535"/>
                  <a:pt x="2836174" y="1523440"/>
                  <a:pt x="2839984" y="1523440"/>
                </a:cubicBezTo>
                <a:cubicBezTo>
                  <a:pt x="2846651" y="1523440"/>
                  <a:pt x="2847604" y="1525345"/>
                  <a:pt x="2851414" y="1530108"/>
                </a:cubicBezTo>
                <a:cubicBezTo>
                  <a:pt x="2851414" y="1530108"/>
                  <a:pt x="2854271" y="1533918"/>
                  <a:pt x="2856176" y="1537728"/>
                </a:cubicBezTo>
                <a:cubicBezTo>
                  <a:pt x="2859034" y="1542490"/>
                  <a:pt x="2862844" y="1548205"/>
                  <a:pt x="2862844" y="1550110"/>
                </a:cubicBezTo>
                <a:lnTo>
                  <a:pt x="2864749" y="1554873"/>
                </a:lnTo>
                <a:cubicBezTo>
                  <a:pt x="2869511" y="1563445"/>
                  <a:pt x="2868559" y="1564398"/>
                  <a:pt x="2878084" y="1569160"/>
                </a:cubicBezTo>
                <a:cubicBezTo>
                  <a:pt x="2885704" y="1572970"/>
                  <a:pt x="2890466" y="1573923"/>
                  <a:pt x="2894276" y="1573923"/>
                </a:cubicBezTo>
                <a:cubicBezTo>
                  <a:pt x="2899991" y="1573923"/>
                  <a:pt x="2906659" y="1573923"/>
                  <a:pt x="2913326" y="1574875"/>
                </a:cubicBezTo>
                <a:cubicBezTo>
                  <a:pt x="2918089" y="1574875"/>
                  <a:pt x="2921899" y="1575828"/>
                  <a:pt x="2925709" y="1576780"/>
                </a:cubicBezTo>
                <a:cubicBezTo>
                  <a:pt x="2930471" y="1578685"/>
                  <a:pt x="2935234" y="1580590"/>
                  <a:pt x="2939044" y="1582495"/>
                </a:cubicBezTo>
                <a:cubicBezTo>
                  <a:pt x="2942854" y="1584400"/>
                  <a:pt x="2946664" y="1587258"/>
                  <a:pt x="2950474" y="1590115"/>
                </a:cubicBezTo>
                <a:cubicBezTo>
                  <a:pt x="2954284" y="1592973"/>
                  <a:pt x="2959999" y="1596783"/>
                  <a:pt x="2959999" y="1596783"/>
                </a:cubicBezTo>
                <a:cubicBezTo>
                  <a:pt x="2964761" y="1600593"/>
                  <a:pt x="2968571" y="1602498"/>
                  <a:pt x="2973334" y="1605355"/>
                </a:cubicBezTo>
                <a:cubicBezTo>
                  <a:pt x="2976191" y="1607260"/>
                  <a:pt x="2980001" y="1609165"/>
                  <a:pt x="2982859" y="1611070"/>
                </a:cubicBezTo>
                <a:cubicBezTo>
                  <a:pt x="2985716" y="1612975"/>
                  <a:pt x="2987621" y="1613928"/>
                  <a:pt x="2990479" y="1616785"/>
                </a:cubicBezTo>
                <a:cubicBezTo>
                  <a:pt x="2990479" y="1616785"/>
                  <a:pt x="2997146" y="1621548"/>
                  <a:pt x="3000956" y="1623453"/>
                </a:cubicBezTo>
                <a:cubicBezTo>
                  <a:pt x="3006671" y="1626310"/>
                  <a:pt x="3012386" y="1628215"/>
                  <a:pt x="3018101" y="1631073"/>
                </a:cubicBezTo>
                <a:cubicBezTo>
                  <a:pt x="3018101" y="1631073"/>
                  <a:pt x="3023816" y="1634883"/>
                  <a:pt x="3029531" y="1635835"/>
                </a:cubicBezTo>
                <a:cubicBezTo>
                  <a:pt x="3033341" y="1636788"/>
                  <a:pt x="3038104" y="1636788"/>
                  <a:pt x="3041914" y="1636788"/>
                </a:cubicBezTo>
                <a:cubicBezTo>
                  <a:pt x="3047629" y="1636788"/>
                  <a:pt x="3053344" y="1636788"/>
                  <a:pt x="3058106" y="1636788"/>
                </a:cubicBezTo>
                <a:cubicBezTo>
                  <a:pt x="3063821" y="1635835"/>
                  <a:pt x="3069536" y="1634883"/>
                  <a:pt x="3075251" y="1633930"/>
                </a:cubicBezTo>
                <a:cubicBezTo>
                  <a:pt x="3075251" y="1633930"/>
                  <a:pt x="3081919" y="1632978"/>
                  <a:pt x="3088586" y="1632025"/>
                </a:cubicBezTo>
                <a:cubicBezTo>
                  <a:pt x="3095254" y="1631073"/>
                  <a:pt x="3100969" y="1630120"/>
                  <a:pt x="3100969" y="1630120"/>
                </a:cubicBezTo>
                <a:cubicBezTo>
                  <a:pt x="3107636" y="1629168"/>
                  <a:pt x="3108589" y="1627263"/>
                  <a:pt x="3108589" y="1634883"/>
                </a:cubicBezTo>
                <a:cubicBezTo>
                  <a:pt x="3108589" y="1634883"/>
                  <a:pt x="3108589" y="1651075"/>
                  <a:pt x="3108589" y="1652980"/>
                </a:cubicBezTo>
                <a:cubicBezTo>
                  <a:pt x="3108589" y="1659648"/>
                  <a:pt x="3109541" y="1663458"/>
                  <a:pt x="3119066" y="1661553"/>
                </a:cubicBezTo>
                <a:cubicBezTo>
                  <a:pt x="3123829" y="1660600"/>
                  <a:pt x="3132401" y="1659648"/>
                  <a:pt x="3132401" y="1659648"/>
                </a:cubicBezTo>
                <a:lnTo>
                  <a:pt x="3137164" y="1659648"/>
                </a:lnTo>
                <a:cubicBezTo>
                  <a:pt x="3137164" y="1659648"/>
                  <a:pt x="3143831" y="1659648"/>
                  <a:pt x="3146689" y="1662505"/>
                </a:cubicBezTo>
                <a:cubicBezTo>
                  <a:pt x="3155261" y="1672030"/>
                  <a:pt x="3151451" y="1673935"/>
                  <a:pt x="3160976" y="1665363"/>
                </a:cubicBezTo>
                <a:lnTo>
                  <a:pt x="3165739" y="1661553"/>
                </a:lnTo>
                <a:cubicBezTo>
                  <a:pt x="3165739" y="1661553"/>
                  <a:pt x="3171454" y="1657743"/>
                  <a:pt x="3173359" y="1654885"/>
                </a:cubicBezTo>
                <a:cubicBezTo>
                  <a:pt x="3176216" y="1652028"/>
                  <a:pt x="3180026" y="1650123"/>
                  <a:pt x="3184789" y="1648218"/>
                </a:cubicBezTo>
                <a:cubicBezTo>
                  <a:pt x="3190504" y="1645360"/>
                  <a:pt x="3195266" y="1642503"/>
                  <a:pt x="3200029" y="1640598"/>
                </a:cubicBezTo>
                <a:cubicBezTo>
                  <a:pt x="3203839" y="1638693"/>
                  <a:pt x="3207649" y="1636788"/>
                  <a:pt x="3212411" y="1634883"/>
                </a:cubicBezTo>
                <a:cubicBezTo>
                  <a:pt x="3217174" y="1632978"/>
                  <a:pt x="3226699" y="1628215"/>
                  <a:pt x="3226699" y="1628215"/>
                </a:cubicBezTo>
                <a:lnTo>
                  <a:pt x="3232414" y="1625358"/>
                </a:lnTo>
                <a:cubicBezTo>
                  <a:pt x="3237176" y="1623453"/>
                  <a:pt x="3243844" y="1620595"/>
                  <a:pt x="3246701" y="1619643"/>
                </a:cubicBezTo>
                <a:cubicBezTo>
                  <a:pt x="3250511" y="1618690"/>
                  <a:pt x="3262894" y="1612023"/>
                  <a:pt x="3262894" y="1612023"/>
                </a:cubicBezTo>
                <a:lnTo>
                  <a:pt x="3269561" y="1609165"/>
                </a:lnTo>
                <a:cubicBezTo>
                  <a:pt x="3269561" y="1609165"/>
                  <a:pt x="3281944" y="1605355"/>
                  <a:pt x="3284801" y="1603450"/>
                </a:cubicBezTo>
                <a:cubicBezTo>
                  <a:pt x="3287659" y="1601545"/>
                  <a:pt x="3299089" y="1596783"/>
                  <a:pt x="3300041" y="1596783"/>
                </a:cubicBezTo>
                <a:lnTo>
                  <a:pt x="3305756" y="1594878"/>
                </a:lnTo>
                <a:cubicBezTo>
                  <a:pt x="3305756" y="1594878"/>
                  <a:pt x="3311471" y="1592973"/>
                  <a:pt x="3316234" y="1591068"/>
                </a:cubicBezTo>
                <a:cubicBezTo>
                  <a:pt x="3320996" y="1589163"/>
                  <a:pt x="3329569" y="1586305"/>
                  <a:pt x="3331474" y="1586305"/>
                </a:cubicBezTo>
                <a:lnTo>
                  <a:pt x="3337189" y="1585353"/>
                </a:lnTo>
                <a:cubicBezTo>
                  <a:pt x="3337189" y="1585353"/>
                  <a:pt x="3343856" y="1585353"/>
                  <a:pt x="3347666" y="1584400"/>
                </a:cubicBezTo>
                <a:cubicBezTo>
                  <a:pt x="3350524" y="1583448"/>
                  <a:pt x="3356239" y="1580590"/>
                  <a:pt x="3359096" y="1580590"/>
                </a:cubicBezTo>
                <a:cubicBezTo>
                  <a:pt x="3362906" y="1580590"/>
                  <a:pt x="3367669" y="1578685"/>
                  <a:pt x="3370526" y="1577733"/>
                </a:cubicBezTo>
                <a:cubicBezTo>
                  <a:pt x="3370526" y="1577733"/>
                  <a:pt x="3377194" y="1574875"/>
                  <a:pt x="3380051" y="1572018"/>
                </a:cubicBezTo>
                <a:cubicBezTo>
                  <a:pt x="3382909" y="1569160"/>
                  <a:pt x="3384814" y="1567255"/>
                  <a:pt x="3388624" y="1566303"/>
                </a:cubicBezTo>
                <a:cubicBezTo>
                  <a:pt x="3393386" y="1565350"/>
                  <a:pt x="3395291" y="1563445"/>
                  <a:pt x="3400054" y="1564398"/>
                </a:cubicBezTo>
                <a:cubicBezTo>
                  <a:pt x="3402911" y="1565350"/>
                  <a:pt x="3402911" y="1566303"/>
                  <a:pt x="3407674" y="1568208"/>
                </a:cubicBezTo>
                <a:cubicBezTo>
                  <a:pt x="3410531" y="1569160"/>
                  <a:pt x="3413389" y="1571065"/>
                  <a:pt x="3418151" y="1570113"/>
                </a:cubicBezTo>
                <a:cubicBezTo>
                  <a:pt x="3425771" y="1569160"/>
                  <a:pt x="3431486" y="1572018"/>
                  <a:pt x="3440059" y="1571065"/>
                </a:cubicBezTo>
                <a:cubicBezTo>
                  <a:pt x="3443869" y="1570113"/>
                  <a:pt x="3444821" y="1570113"/>
                  <a:pt x="3448631" y="1569160"/>
                </a:cubicBezTo>
                <a:cubicBezTo>
                  <a:pt x="3451489" y="1568208"/>
                  <a:pt x="3455299" y="1568208"/>
                  <a:pt x="3457204" y="1568208"/>
                </a:cubicBezTo>
                <a:cubicBezTo>
                  <a:pt x="3464824" y="1568208"/>
                  <a:pt x="3465776" y="1562493"/>
                  <a:pt x="3476254" y="1566303"/>
                </a:cubicBezTo>
                <a:cubicBezTo>
                  <a:pt x="3482921" y="1568208"/>
                  <a:pt x="3489589" y="1567255"/>
                  <a:pt x="3496256" y="1569160"/>
                </a:cubicBezTo>
                <a:cubicBezTo>
                  <a:pt x="3496256" y="1569160"/>
                  <a:pt x="3499114" y="1569160"/>
                  <a:pt x="3504829" y="1571065"/>
                </a:cubicBezTo>
                <a:cubicBezTo>
                  <a:pt x="3510544" y="1572970"/>
                  <a:pt x="3516259" y="1573923"/>
                  <a:pt x="3519116" y="1573923"/>
                </a:cubicBezTo>
                <a:cubicBezTo>
                  <a:pt x="3526736" y="1573923"/>
                  <a:pt x="3528641" y="1572970"/>
                  <a:pt x="3535309" y="1570113"/>
                </a:cubicBezTo>
                <a:cubicBezTo>
                  <a:pt x="3538166" y="1568208"/>
                  <a:pt x="3541976" y="1566303"/>
                  <a:pt x="3544834" y="1566303"/>
                </a:cubicBezTo>
                <a:cubicBezTo>
                  <a:pt x="3548644" y="1566303"/>
                  <a:pt x="3549596" y="1566303"/>
                  <a:pt x="3549596" y="1566303"/>
                </a:cubicBezTo>
                <a:lnTo>
                  <a:pt x="3554359" y="1567255"/>
                </a:lnTo>
                <a:cubicBezTo>
                  <a:pt x="3554359" y="1567255"/>
                  <a:pt x="3559121" y="1567255"/>
                  <a:pt x="3563884" y="1568208"/>
                </a:cubicBezTo>
                <a:cubicBezTo>
                  <a:pt x="3567694" y="1569160"/>
                  <a:pt x="3578171" y="1571065"/>
                  <a:pt x="3580076" y="1570113"/>
                </a:cubicBezTo>
                <a:lnTo>
                  <a:pt x="3582934" y="1570113"/>
                </a:lnTo>
                <a:cubicBezTo>
                  <a:pt x="3582934" y="1570113"/>
                  <a:pt x="3591506" y="1570113"/>
                  <a:pt x="3593411" y="1567255"/>
                </a:cubicBezTo>
                <a:cubicBezTo>
                  <a:pt x="3596269" y="1564398"/>
                  <a:pt x="3601984" y="1558683"/>
                  <a:pt x="3603889" y="1556778"/>
                </a:cubicBezTo>
                <a:lnTo>
                  <a:pt x="3607699" y="1553920"/>
                </a:lnTo>
                <a:cubicBezTo>
                  <a:pt x="3609604" y="1551063"/>
                  <a:pt x="3613414" y="1547253"/>
                  <a:pt x="3617224" y="1544395"/>
                </a:cubicBezTo>
                <a:cubicBezTo>
                  <a:pt x="3621986" y="1540585"/>
                  <a:pt x="3628654" y="1536775"/>
                  <a:pt x="3633416" y="1537728"/>
                </a:cubicBezTo>
                <a:cubicBezTo>
                  <a:pt x="3640084" y="1538680"/>
                  <a:pt x="3647704" y="1538680"/>
                  <a:pt x="3654371" y="1533918"/>
                </a:cubicBezTo>
                <a:cubicBezTo>
                  <a:pt x="3661039" y="1529155"/>
                  <a:pt x="3670564" y="1523440"/>
                  <a:pt x="3674374" y="1521535"/>
                </a:cubicBezTo>
                <a:cubicBezTo>
                  <a:pt x="3679136" y="1519630"/>
                  <a:pt x="3683899" y="1517725"/>
                  <a:pt x="3685804" y="1512010"/>
                </a:cubicBezTo>
                <a:cubicBezTo>
                  <a:pt x="3687709" y="1506295"/>
                  <a:pt x="3700091" y="1498675"/>
                  <a:pt x="3701996" y="1492960"/>
                </a:cubicBezTo>
                <a:cubicBezTo>
                  <a:pt x="3703901" y="1487245"/>
                  <a:pt x="3710569" y="1478673"/>
                  <a:pt x="3713426" y="1475815"/>
                </a:cubicBezTo>
                <a:cubicBezTo>
                  <a:pt x="3716284" y="1472005"/>
                  <a:pt x="3725809" y="1458670"/>
                  <a:pt x="3727714" y="1455813"/>
                </a:cubicBezTo>
                <a:cubicBezTo>
                  <a:pt x="3728666" y="1452955"/>
                  <a:pt x="3734381" y="1445335"/>
                  <a:pt x="3742954" y="1441525"/>
                </a:cubicBezTo>
                <a:cubicBezTo>
                  <a:pt x="3752479" y="1437715"/>
                  <a:pt x="3755336" y="1436763"/>
                  <a:pt x="3761051" y="1432953"/>
                </a:cubicBezTo>
                <a:cubicBezTo>
                  <a:pt x="3766766" y="1429143"/>
                  <a:pt x="3774386" y="1422475"/>
                  <a:pt x="3780101" y="1421523"/>
                </a:cubicBezTo>
                <a:cubicBezTo>
                  <a:pt x="3784864" y="1420570"/>
                  <a:pt x="3787721" y="1424380"/>
                  <a:pt x="3792484" y="1418665"/>
                </a:cubicBezTo>
                <a:cubicBezTo>
                  <a:pt x="3797246" y="1412950"/>
                  <a:pt x="3804866" y="1405330"/>
                  <a:pt x="3806771" y="1403425"/>
                </a:cubicBezTo>
                <a:cubicBezTo>
                  <a:pt x="3808676" y="1401520"/>
                  <a:pt x="3814391" y="1395805"/>
                  <a:pt x="3819154" y="1393900"/>
                </a:cubicBezTo>
                <a:cubicBezTo>
                  <a:pt x="3823916" y="1391995"/>
                  <a:pt x="3829631" y="1390090"/>
                  <a:pt x="3830584" y="1382470"/>
                </a:cubicBezTo>
                <a:cubicBezTo>
                  <a:pt x="3831536" y="1374850"/>
                  <a:pt x="3823916" y="1366278"/>
                  <a:pt x="3822964" y="1363420"/>
                </a:cubicBezTo>
                <a:cubicBezTo>
                  <a:pt x="3822011" y="1360563"/>
                  <a:pt x="3814391" y="1351038"/>
                  <a:pt x="3806771" y="1348180"/>
                </a:cubicBezTo>
                <a:cubicBezTo>
                  <a:pt x="3800104" y="1346275"/>
                  <a:pt x="3788674" y="1331035"/>
                  <a:pt x="3788674" y="1329130"/>
                </a:cubicBezTo>
                <a:cubicBezTo>
                  <a:pt x="3788674" y="1326273"/>
                  <a:pt x="3788674" y="1317700"/>
                  <a:pt x="3785816" y="1313890"/>
                </a:cubicBezTo>
                <a:cubicBezTo>
                  <a:pt x="3782959" y="1310080"/>
                  <a:pt x="3776291" y="1308175"/>
                  <a:pt x="3777244" y="1299603"/>
                </a:cubicBezTo>
                <a:cubicBezTo>
                  <a:pt x="3777244" y="1291983"/>
                  <a:pt x="3782006" y="1279600"/>
                  <a:pt x="3785816" y="1275790"/>
                </a:cubicBezTo>
                <a:cubicBezTo>
                  <a:pt x="3788674" y="1271980"/>
                  <a:pt x="3790579" y="1263408"/>
                  <a:pt x="3790579" y="1258645"/>
                </a:cubicBezTo>
                <a:cubicBezTo>
                  <a:pt x="3790579" y="1254835"/>
                  <a:pt x="3797246" y="1230070"/>
                  <a:pt x="3804866" y="1219593"/>
                </a:cubicBezTo>
                <a:cubicBezTo>
                  <a:pt x="3812486" y="1210068"/>
                  <a:pt x="3814391" y="1206258"/>
                  <a:pt x="3823916" y="1201495"/>
                </a:cubicBezTo>
                <a:cubicBezTo>
                  <a:pt x="3833441" y="1196733"/>
                  <a:pt x="3833441" y="1199590"/>
                  <a:pt x="3840109" y="1200543"/>
                </a:cubicBezTo>
                <a:cubicBezTo>
                  <a:pt x="3845824" y="1200543"/>
                  <a:pt x="3859159" y="1202448"/>
                  <a:pt x="3865826" y="1201495"/>
                </a:cubicBezTo>
                <a:cubicBezTo>
                  <a:pt x="3871541" y="1200543"/>
                  <a:pt x="3877256" y="1203400"/>
                  <a:pt x="3881066" y="1210068"/>
                </a:cubicBezTo>
                <a:cubicBezTo>
                  <a:pt x="3884876" y="1216735"/>
                  <a:pt x="3886781" y="1221498"/>
                  <a:pt x="3900116" y="1226260"/>
                </a:cubicBezTo>
                <a:cubicBezTo>
                  <a:pt x="3913451" y="1231023"/>
                  <a:pt x="3923929" y="1232928"/>
                  <a:pt x="3926786" y="1232928"/>
                </a:cubicBezTo>
                <a:cubicBezTo>
                  <a:pt x="3929644" y="1233880"/>
                  <a:pt x="3940121" y="1234833"/>
                  <a:pt x="3944884" y="1235785"/>
                </a:cubicBezTo>
                <a:cubicBezTo>
                  <a:pt x="3949646" y="1236738"/>
                  <a:pt x="3966791" y="1236738"/>
                  <a:pt x="3968696" y="1238643"/>
                </a:cubicBezTo>
                <a:cubicBezTo>
                  <a:pt x="3970601" y="1240548"/>
                  <a:pt x="3987746" y="1240548"/>
                  <a:pt x="3990604" y="1238643"/>
                </a:cubicBezTo>
                <a:cubicBezTo>
                  <a:pt x="3994414" y="1235785"/>
                  <a:pt x="4003939" y="1220545"/>
                  <a:pt x="4013464" y="1217688"/>
                </a:cubicBezTo>
                <a:cubicBezTo>
                  <a:pt x="4023941" y="1213878"/>
                  <a:pt x="4026799" y="1211020"/>
                  <a:pt x="4030609" y="1206258"/>
                </a:cubicBezTo>
                <a:cubicBezTo>
                  <a:pt x="4034419" y="1201495"/>
                  <a:pt x="4042039" y="1192923"/>
                  <a:pt x="4045849" y="1190065"/>
                </a:cubicBezTo>
                <a:cubicBezTo>
                  <a:pt x="4048706" y="1187208"/>
                  <a:pt x="4062041" y="1171015"/>
                  <a:pt x="4062994" y="1166253"/>
                </a:cubicBezTo>
                <a:cubicBezTo>
                  <a:pt x="4063946" y="1161490"/>
                  <a:pt x="4063946" y="1153870"/>
                  <a:pt x="4065851" y="1151965"/>
                </a:cubicBezTo>
                <a:cubicBezTo>
                  <a:pt x="4067756" y="1150060"/>
                  <a:pt x="4077281" y="1144345"/>
                  <a:pt x="4082044" y="1143393"/>
                </a:cubicBezTo>
                <a:cubicBezTo>
                  <a:pt x="4086806" y="1143393"/>
                  <a:pt x="4090616" y="1143393"/>
                  <a:pt x="4092521" y="1145298"/>
                </a:cubicBezTo>
                <a:cubicBezTo>
                  <a:pt x="4094426" y="1147203"/>
                  <a:pt x="4102046" y="1145298"/>
                  <a:pt x="4105856" y="1148155"/>
                </a:cubicBezTo>
                <a:cubicBezTo>
                  <a:pt x="4108714" y="1151013"/>
                  <a:pt x="4122049" y="1147203"/>
                  <a:pt x="4125859" y="1146250"/>
                </a:cubicBezTo>
                <a:cubicBezTo>
                  <a:pt x="4129669" y="1144345"/>
                  <a:pt x="4147766" y="1144345"/>
                  <a:pt x="4155386" y="1141488"/>
                </a:cubicBezTo>
                <a:cubicBezTo>
                  <a:pt x="4162054" y="1138630"/>
                  <a:pt x="4174436" y="1133868"/>
                  <a:pt x="4175389" y="1129108"/>
                </a:cubicBezTo>
                <a:cubicBezTo>
                  <a:pt x="4176341" y="1124346"/>
                  <a:pt x="4198249" y="1108153"/>
                  <a:pt x="4200154" y="1105296"/>
                </a:cubicBezTo>
                <a:cubicBezTo>
                  <a:pt x="4203012" y="1100533"/>
                  <a:pt x="4210631" y="1104343"/>
                  <a:pt x="4215394" y="1099581"/>
                </a:cubicBezTo>
                <a:cubicBezTo>
                  <a:pt x="4220156" y="1094818"/>
                  <a:pt x="4225872" y="1089103"/>
                  <a:pt x="4223014" y="1082436"/>
                </a:cubicBezTo>
                <a:cubicBezTo>
                  <a:pt x="4220156" y="1075768"/>
                  <a:pt x="4219204" y="1069101"/>
                  <a:pt x="4222062" y="1063386"/>
                </a:cubicBezTo>
                <a:cubicBezTo>
                  <a:pt x="4224919" y="1056718"/>
                  <a:pt x="4230634" y="1047193"/>
                  <a:pt x="4234444" y="1042431"/>
                </a:cubicBezTo>
                <a:cubicBezTo>
                  <a:pt x="4238254" y="1037668"/>
                  <a:pt x="4245874" y="1020523"/>
                  <a:pt x="4253494" y="1016713"/>
                </a:cubicBezTo>
                <a:cubicBezTo>
                  <a:pt x="4261114" y="1012903"/>
                  <a:pt x="4270639" y="1005283"/>
                  <a:pt x="4278259" y="1006236"/>
                </a:cubicBezTo>
                <a:cubicBezTo>
                  <a:pt x="4285879" y="1007188"/>
                  <a:pt x="4310644" y="1007188"/>
                  <a:pt x="4317312" y="1004331"/>
                </a:cubicBezTo>
                <a:cubicBezTo>
                  <a:pt x="4323979" y="1001473"/>
                  <a:pt x="4323027" y="990043"/>
                  <a:pt x="4324931" y="983376"/>
                </a:cubicBezTo>
                <a:cubicBezTo>
                  <a:pt x="4326837" y="976708"/>
                  <a:pt x="4326837" y="972898"/>
                  <a:pt x="4332552" y="973851"/>
                </a:cubicBezTo>
                <a:cubicBezTo>
                  <a:pt x="4338266" y="974803"/>
                  <a:pt x="4337314" y="966231"/>
                  <a:pt x="4343981" y="974803"/>
                </a:cubicBezTo>
                <a:cubicBezTo>
                  <a:pt x="4349697" y="983376"/>
                  <a:pt x="4355412" y="982423"/>
                  <a:pt x="4358269" y="981471"/>
                </a:cubicBezTo>
                <a:cubicBezTo>
                  <a:pt x="4361127" y="980518"/>
                  <a:pt x="4364937" y="980518"/>
                  <a:pt x="4364937" y="975756"/>
                </a:cubicBezTo>
                <a:cubicBezTo>
                  <a:pt x="4365889" y="970993"/>
                  <a:pt x="4383034" y="960516"/>
                  <a:pt x="4385891" y="958611"/>
                </a:cubicBezTo>
                <a:cubicBezTo>
                  <a:pt x="4388749" y="956706"/>
                  <a:pt x="4401131" y="951943"/>
                  <a:pt x="4403037" y="950038"/>
                </a:cubicBezTo>
                <a:cubicBezTo>
                  <a:pt x="4404941" y="948133"/>
                  <a:pt x="4413514" y="946228"/>
                  <a:pt x="4417324" y="949086"/>
                </a:cubicBezTo>
                <a:cubicBezTo>
                  <a:pt x="4421134" y="951943"/>
                  <a:pt x="4431612" y="948133"/>
                  <a:pt x="4434469" y="948133"/>
                </a:cubicBezTo>
                <a:cubicBezTo>
                  <a:pt x="4436374" y="949086"/>
                  <a:pt x="4448756" y="951943"/>
                  <a:pt x="4447804" y="947181"/>
                </a:cubicBezTo>
                <a:cubicBezTo>
                  <a:pt x="4446852" y="942418"/>
                  <a:pt x="4453519" y="938608"/>
                  <a:pt x="4457329" y="938608"/>
                </a:cubicBezTo>
                <a:cubicBezTo>
                  <a:pt x="4463997" y="937656"/>
                  <a:pt x="4463044" y="946228"/>
                  <a:pt x="4466854" y="943371"/>
                </a:cubicBezTo>
                <a:cubicBezTo>
                  <a:pt x="4472569" y="939561"/>
                  <a:pt x="4479237" y="952896"/>
                  <a:pt x="4483047" y="952896"/>
                </a:cubicBezTo>
                <a:cubicBezTo>
                  <a:pt x="4485904" y="952896"/>
                  <a:pt x="4491619" y="951943"/>
                  <a:pt x="4495429" y="953848"/>
                </a:cubicBezTo>
                <a:cubicBezTo>
                  <a:pt x="4499239" y="955753"/>
                  <a:pt x="4504954" y="954801"/>
                  <a:pt x="4509716" y="951943"/>
                </a:cubicBezTo>
                <a:cubicBezTo>
                  <a:pt x="4514479" y="949086"/>
                  <a:pt x="4524956" y="951943"/>
                  <a:pt x="4529719" y="952896"/>
                </a:cubicBezTo>
                <a:cubicBezTo>
                  <a:pt x="4535434" y="953848"/>
                  <a:pt x="4534481" y="956706"/>
                  <a:pt x="4537339" y="950991"/>
                </a:cubicBezTo>
                <a:cubicBezTo>
                  <a:pt x="4540197" y="945276"/>
                  <a:pt x="4540197" y="942418"/>
                  <a:pt x="4542102" y="942418"/>
                </a:cubicBezTo>
                <a:cubicBezTo>
                  <a:pt x="4544959" y="942418"/>
                  <a:pt x="4548769" y="939561"/>
                  <a:pt x="4548769" y="935751"/>
                </a:cubicBezTo>
                <a:cubicBezTo>
                  <a:pt x="4548769" y="931941"/>
                  <a:pt x="4548769" y="918606"/>
                  <a:pt x="4547816" y="916701"/>
                </a:cubicBezTo>
                <a:cubicBezTo>
                  <a:pt x="4546864" y="914796"/>
                  <a:pt x="4545912" y="912891"/>
                  <a:pt x="4543054" y="909081"/>
                </a:cubicBezTo>
                <a:cubicBezTo>
                  <a:pt x="4540197" y="906223"/>
                  <a:pt x="4538291" y="898603"/>
                  <a:pt x="4537339" y="892888"/>
                </a:cubicBezTo>
                <a:cubicBezTo>
                  <a:pt x="4536387" y="887173"/>
                  <a:pt x="4535434" y="882411"/>
                  <a:pt x="4531624" y="878601"/>
                </a:cubicBezTo>
                <a:lnTo>
                  <a:pt x="4529719" y="876696"/>
                </a:lnTo>
                <a:cubicBezTo>
                  <a:pt x="4527814" y="875743"/>
                  <a:pt x="4525909" y="874791"/>
                  <a:pt x="4524004" y="873838"/>
                </a:cubicBezTo>
                <a:cubicBezTo>
                  <a:pt x="4519241" y="870981"/>
                  <a:pt x="4513527" y="868123"/>
                  <a:pt x="4512574" y="865266"/>
                </a:cubicBezTo>
                <a:lnTo>
                  <a:pt x="4511622" y="863361"/>
                </a:lnTo>
                <a:cubicBezTo>
                  <a:pt x="4509716" y="860503"/>
                  <a:pt x="4506859" y="857646"/>
                  <a:pt x="4504954" y="855741"/>
                </a:cubicBezTo>
                <a:cubicBezTo>
                  <a:pt x="4501144" y="850978"/>
                  <a:pt x="4488762" y="850026"/>
                  <a:pt x="4489714" y="845263"/>
                </a:cubicBezTo>
                <a:cubicBezTo>
                  <a:pt x="4490666" y="842406"/>
                  <a:pt x="4490666" y="839548"/>
                  <a:pt x="4486856" y="839548"/>
                </a:cubicBezTo>
                <a:cubicBezTo>
                  <a:pt x="4482094" y="838596"/>
                  <a:pt x="4470664" y="834786"/>
                  <a:pt x="4470664" y="828118"/>
                </a:cubicBezTo>
                <a:cubicBezTo>
                  <a:pt x="4470664" y="822403"/>
                  <a:pt x="4467806" y="816688"/>
                  <a:pt x="4463044" y="816688"/>
                </a:cubicBezTo>
                <a:cubicBezTo>
                  <a:pt x="4458281" y="816688"/>
                  <a:pt x="4449709" y="810973"/>
                  <a:pt x="4447804" y="810021"/>
                </a:cubicBezTo>
                <a:cubicBezTo>
                  <a:pt x="4444947" y="809068"/>
                  <a:pt x="4440184" y="808116"/>
                  <a:pt x="4436374" y="808116"/>
                </a:cubicBezTo>
                <a:cubicBezTo>
                  <a:pt x="4432564" y="808116"/>
                  <a:pt x="4430659" y="804306"/>
                  <a:pt x="4427802" y="801448"/>
                </a:cubicBezTo>
                <a:cubicBezTo>
                  <a:pt x="4426849" y="799543"/>
                  <a:pt x="4422087" y="791923"/>
                  <a:pt x="4417324" y="786208"/>
                </a:cubicBezTo>
                <a:cubicBezTo>
                  <a:pt x="4412562" y="779541"/>
                  <a:pt x="4408752" y="778588"/>
                  <a:pt x="4408752" y="778588"/>
                </a:cubicBezTo>
                <a:cubicBezTo>
                  <a:pt x="4403989" y="779541"/>
                  <a:pt x="4403037" y="781446"/>
                  <a:pt x="4399227" y="778588"/>
                </a:cubicBezTo>
                <a:cubicBezTo>
                  <a:pt x="4397322" y="777636"/>
                  <a:pt x="4395416" y="776683"/>
                  <a:pt x="4393512" y="776683"/>
                </a:cubicBezTo>
                <a:cubicBezTo>
                  <a:pt x="4389702" y="777636"/>
                  <a:pt x="4388749" y="779541"/>
                  <a:pt x="4383987" y="776683"/>
                </a:cubicBezTo>
                <a:cubicBezTo>
                  <a:pt x="4381129" y="774778"/>
                  <a:pt x="4378272" y="775731"/>
                  <a:pt x="4376366" y="776683"/>
                </a:cubicBezTo>
                <a:cubicBezTo>
                  <a:pt x="4375414" y="776683"/>
                  <a:pt x="4374462" y="777636"/>
                  <a:pt x="4372556" y="776683"/>
                </a:cubicBezTo>
                <a:cubicBezTo>
                  <a:pt x="4368747" y="775731"/>
                  <a:pt x="4360174" y="777636"/>
                  <a:pt x="4355412" y="778588"/>
                </a:cubicBezTo>
                <a:cubicBezTo>
                  <a:pt x="4350649" y="779541"/>
                  <a:pt x="4350649" y="779541"/>
                  <a:pt x="4346839" y="782398"/>
                </a:cubicBezTo>
                <a:cubicBezTo>
                  <a:pt x="4344934" y="783351"/>
                  <a:pt x="4341124" y="784303"/>
                  <a:pt x="4339219" y="787161"/>
                </a:cubicBezTo>
                <a:cubicBezTo>
                  <a:pt x="4337314" y="791923"/>
                  <a:pt x="4327789" y="804306"/>
                  <a:pt x="4326837" y="807163"/>
                </a:cubicBezTo>
                <a:cubicBezTo>
                  <a:pt x="4325884" y="810021"/>
                  <a:pt x="4324931" y="814783"/>
                  <a:pt x="4321122" y="816688"/>
                </a:cubicBezTo>
                <a:cubicBezTo>
                  <a:pt x="4317312" y="818593"/>
                  <a:pt x="4313502" y="826213"/>
                  <a:pt x="4313502" y="827166"/>
                </a:cubicBezTo>
                <a:cubicBezTo>
                  <a:pt x="4313502" y="828118"/>
                  <a:pt x="4311597" y="835738"/>
                  <a:pt x="4304929" y="829071"/>
                </a:cubicBezTo>
                <a:cubicBezTo>
                  <a:pt x="4298262" y="822403"/>
                  <a:pt x="4276354" y="806211"/>
                  <a:pt x="4266829" y="803353"/>
                </a:cubicBezTo>
                <a:cubicBezTo>
                  <a:pt x="4258256" y="800496"/>
                  <a:pt x="4246827" y="801448"/>
                  <a:pt x="4240159" y="804306"/>
                </a:cubicBezTo>
                <a:cubicBezTo>
                  <a:pt x="4234444" y="807163"/>
                  <a:pt x="4228729" y="810973"/>
                  <a:pt x="4225872" y="810973"/>
                </a:cubicBezTo>
                <a:cubicBezTo>
                  <a:pt x="4223014" y="810973"/>
                  <a:pt x="4215394" y="810021"/>
                  <a:pt x="4212537" y="809068"/>
                </a:cubicBezTo>
                <a:cubicBezTo>
                  <a:pt x="4209679" y="808116"/>
                  <a:pt x="4203964" y="808116"/>
                  <a:pt x="4199202" y="813831"/>
                </a:cubicBezTo>
                <a:cubicBezTo>
                  <a:pt x="4194439" y="819546"/>
                  <a:pt x="4189676" y="825261"/>
                  <a:pt x="4187771" y="828118"/>
                </a:cubicBezTo>
                <a:cubicBezTo>
                  <a:pt x="4185866" y="830976"/>
                  <a:pt x="4184914" y="836691"/>
                  <a:pt x="4179199" y="832881"/>
                </a:cubicBezTo>
                <a:cubicBezTo>
                  <a:pt x="4172531" y="829071"/>
                  <a:pt x="4160149" y="821451"/>
                  <a:pt x="4153481" y="813831"/>
                </a:cubicBezTo>
                <a:cubicBezTo>
                  <a:pt x="4149671" y="809068"/>
                  <a:pt x="4144909" y="809068"/>
                  <a:pt x="4143004" y="797638"/>
                </a:cubicBezTo>
                <a:cubicBezTo>
                  <a:pt x="4143004" y="795733"/>
                  <a:pt x="4142051" y="793828"/>
                  <a:pt x="4142051" y="791923"/>
                </a:cubicBezTo>
                <a:cubicBezTo>
                  <a:pt x="4142051" y="790018"/>
                  <a:pt x="4143004" y="785256"/>
                  <a:pt x="4140146" y="782398"/>
                </a:cubicBezTo>
                <a:cubicBezTo>
                  <a:pt x="4137289" y="779541"/>
                  <a:pt x="4137289" y="777636"/>
                  <a:pt x="4144909" y="772873"/>
                </a:cubicBezTo>
                <a:cubicBezTo>
                  <a:pt x="4145861" y="771921"/>
                  <a:pt x="4147766" y="770968"/>
                  <a:pt x="4148719" y="770016"/>
                </a:cubicBezTo>
                <a:cubicBezTo>
                  <a:pt x="4155386" y="766206"/>
                  <a:pt x="4161101" y="762396"/>
                  <a:pt x="4161101" y="762396"/>
                </a:cubicBezTo>
                <a:cubicBezTo>
                  <a:pt x="4161101" y="762396"/>
                  <a:pt x="4163959" y="761443"/>
                  <a:pt x="4163006" y="756681"/>
                </a:cubicBezTo>
                <a:cubicBezTo>
                  <a:pt x="4161101" y="746203"/>
                  <a:pt x="4157291" y="729058"/>
                  <a:pt x="4163006" y="718581"/>
                </a:cubicBezTo>
                <a:lnTo>
                  <a:pt x="4182056" y="687148"/>
                </a:lnTo>
                <a:cubicBezTo>
                  <a:pt x="4182056" y="687148"/>
                  <a:pt x="4182056" y="685243"/>
                  <a:pt x="4180151" y="680481"/>
                </a:cubicBezTo>
                <a:cubicBezTo>
                  <a:pt x="4177294" y="676671"/>
                  <a:pt x="4179199" y="670956"/>
                  <a:pt x="4180151" y="669051"/>
                </a:cubicBezTo>
                <a:cubicBezTo>
                  <a:pt x="4181104" y="667146"/>
                  <a:pt x="4221109" y="567133"/>
                  <a:pt x="4229681" y="545226"/>
                </a:cubicBezTo>
                <a:cubicBezTo>
                  <a:pt x="4233491" y="536653"/>
                  <a:pt x="4240159" y="546178"/>
                  <a:pt x="4246827" y="549988"/>
                </a:cubicBezTo>
                <a:cubicBezTo>
                  <a:pt x="4246827" y="549988"/>
                  <a:pt x="4266829" y="562371"/>
                  <a:pt x="4272544" y="564276"/>
                </a:cubicBezTo>
                <a:cubicBezTo>
                  <a:pt x="4277306" y="565229"/>
                  <a:pt x="4280164" y="567133"/>
                  <a:pt x="4290641" y="566181"/>
                </a:cubicBezTo>
                <a:cubicBezTo>
                  <a:pt x="4301119" y="565229"/>
                  <a:pt x="4309691" y="569038"/>
                  <a:pt x="4313502" y="571896"/>
                </a:cubicBezTo>
                <a:cubicBezTo>
                  <a:pt x="4319216" y="576658"/>
                  <a:pt x="4323027" y="575707"/>
                  <a:pt x="4325884" y="573801"/>
                </a:cubicBezTo>
                <a:cubicBezTo>
                  <a:pt x="4329694" y="571896"/>
                  <a:pt x="4332552" y="566181"/>
                  <a:pt x="4339219" y="565229"/>
                </a:cubicBezTo>
                <a:cubicBezTo>
                  <a:pt x="4346839" y="563324"/>
                  <a:pt x="4351602" y="565229"/>
                  <a:pt x="4358269" y="556657"/>
                </a:cubicBezTo>
                <a:cubicBezTo>
                  <a:pt x="4362079" y="551893"/>
                  <a:pt x="4371604" y="544273"/>
                  <a:pt x="4373509" y="540464"/>
                </a:cubicBezTo>
                <a:cubicBezTo>
                  <a:pt x="4375414" y="536653"/>
                  <a:pt x="4378272" y="534748"/>
                  <a:pt x="4381129" y="532844"/>
                </a:cubicBezTo>
                <a:cubicBezTo>
                  <a:pt x="4383987" y="530938"/>
                  <a:pt x="4386844" y="525223"/>
                  <a:pt x="4391606" y="520461"/>
                </a:cubicBezTo>
                <a:cubicBezTo>
                  <a:pt x="4396369" y="515698"/>
                  <a:pt x="4404941" y="516652"/>
                  <a:pt x="4411609" y="515698"/>
                </a:cubicBezTo>
                <a:cubicBezTo>
                  <a:pt x="4423991" y="512841"/>
                  <a:pt x="4425897" y="511888"/>
                  <a:pt x="4433516" y="506173"/>
                </a:cubicBezTo>
                <a:cubicBezTo>
                  <a:pt x="4436374" y="504268"/>
                  <a:pt x="4443041" y="499506"/>
                  <a:pt x="4445899" y="496649"/>
                </a:cubicBezTo>
                <a:cubicBezTo>
                  <a:pt x="4449709" y="492838"/>
                  <a:pt x="4449709" y="490933"/>
                  <a:pt x="4452566" y="488076"/>
                </a:cubicBezTo>
                <a:cubicBezTo>
                  <a:pt x="4457329" y="483313"/>
                  <a:pt x="4458281" y="478551"/>
                  <a:pt x="4457329" y="476647"/>
                </a:cubicBezTo>
                <a:cubicBezTo>
                  <a:pt x="4456377" y="474742"/>
                  <a:pt x="4454472" y="470931"/>
                  <a:pt x="4456377" y="467122"/>
                </a:cubicBezTo>
                <a:cubicBezTo>
                  <a:pt x="4458281" y="464264"/>
                  <a:pt x="4456377" y="458548"/>
                  <a:pt x="4452566" y="458548"/>
                </a:cubicBezTo>
                <a:cubicBezTo>
                  <a:pt x="4448756" y="458548"/>
                  <a:pt x="4442089" y="459502"/>
                  <a:pt x="4438279" y="457597"/>
                </a:cubicBezTo>
                <a:cubicBezTo>
                  <a:pt x="4434469" y="455691"/>
                  <a:pt x="4435422" y="451882"/>
                  <a:pt x="4440184" y="449024"/>
                </a:cubicBezTo>
                <a:cubicBezTo>
                  <a:pt x="4444947" y="445213"/>
                  <a:pt x="4446852" y="438546"/>
                  <a:pt x="4445899" y="432831"/>
                </a:cubicBezTo>
                <a:cubicBezTo>
                  <a:pt x="4444947" y="427117"/>
                  <a:pt x="4448756" y="419497"/>
                  <a:pt x="4456377" y="414734"/>
                </a:cubicBezTo>
                <a:cubicBezTo>
                  <a:pt x="4463997" y="409018"/>
                  <a:pt x="4463044" y="390921"/>
                  <a:pt x="4463044" y="385207"/>
                </a:cubicBezTo>
                <a:cubicBezTo>
                  <a:pt x="4463044" y="379491"/>
                  <a:pt x="4473522" y="369013"/>
                  <a:pt x="4476379" y="366156"/>
                </a:cubicBezTo>
                <a:cubicBezTo>
                  <a:pt x="4479237" y="363298"/>
                  <a:pt x="4483999" y="355678"/>
                  <a:pt x="4482094" y="346153"/>
                </a:cubicBezTo>
                <a:cubicBezTo>
                  <a:pt x="4480189" y="336628"/>
                  <a:pt x="4483047" y="334723"/>
                  <a:pt x="4485904" y="331866"/>
                </a:cubicBezTo>
                <a:cubicBezTo>
                  <a:pt x="4489714" y="329008"/>
                  <a:pt x="4492572" y="323293"/>
                  <a:pt x="4492572" y="320436"/>
                </a:cubicBezTo>
                <a:cubicBezTo>
                  <a:pt x="4492572" y="317578"/>
                  <a:pt x="4490666" y="315673"/>
                  <a:pt x="4493524" y="313768"/>
                </a:cubicBezTo>
                <a:cubicBezTo>
                  <a:pt x="4496381" y="311863"/>
                  <a:pt x="4495429" y="310911"/>
                  <a:pt x="4496381" y="306148"/>
                </a:cubicBezTo>
                <a:cubicBezTo>
                  <a:pt x="4497334" y="302338"/>
                  <a:pt x="4500191" y="291861"/>
                  <a:pt x="4501144" y="285193"/>
                </a:cubicBezTo>
                <a:cubicBezTo>
                  <a:pt x="4502097" y="279478"/>
                  <a:pt x="4502097" y="273763"/>
                  <a:pt x="4504954" y="272811"/>
                </a:cubicBezTo>
                <a:cubicBezTo>
                  <a:pt x="4507812" y="271858"/>
                  <a:pt x="4510669" y="269953"/>
                  <a:pt x="4512574" y="266143"/>
                </a:cubicBezTo>
                <a:cubicBezTo>
                  <a:pt x="4514479" y="262333"/>
                  <a:pt x="4519241" y="255666"/>
                  <a:pt x="4523052" y="253761"/>
                </a:cubicBezTo>
                <a:cubicBezTo>
                  <a:pt x="4526862" y="251856"/>
                  <a:pt x="4530672" y="247093"/>
                  <a:pt x="4532577" y="244236"/>
                </a:cubicBezTo>
                <a:cubicBezTo>
                  <a:pt x="4534481" y="241379"/>
                  <a:pt x="4540197" y="239473"/>
                  <a:pt x="4544006" y="237568"/>
                </a:cubicBezTo>
                <a:cubicBezTo>
                  <a:pt x="4547816" y="235663"/>
                  <a:pt x="4552579" y="228996"/>
                  <a:pt x="4548769" y="226138"/>
                </a:cubicBezTo>
                <a:cubicBezTo>
                  <a:pt x="4544959" y="223281"/>
                  <a:pt x="4544959" y="220423"/>
                  <a:pt x="4547816" y="218518"/>
                </a:cubicBezTo>
                <a:cubicBezTo>
                  <a:pt x="4550674" y="216613"/>
                  <a:pt x="4551627" y="214708"/>
                  <a:pt x="4552579" y="208993"/>
                </a:cubicBezTo>
                <a:cubicBezTo>
                  <a:pt x="4553531" y="203278"/>
                  <a:pt x="4552579" y="196611"/>
                  <a:pt x="4544006" y="192801"/>
                </a:cubicBezTo>
                <a:cubicBezTo>
                  <a:pt x="4535434" y="188991"/>
                  <a:pt x="4538291" y="179466"/>
                  <a:pt x="4540197" y="176608"/>
                </a:cubicBezTo>
                <a:cubicBezTo>
                  <a:pt x="4542102" y="173751"/>
                  <a:pt x="4540197" y="168036"/>
                  <a:pt x="4541149" y="164226"/>
                </a:cubicBezTo>
                <a:cubicBezTo>
                  <a:pt x="4542102" y="160416"/>
                  <a:pt x="4539244" y="157558"/>
                  <a:pt x="4524956" y="151843"/>
                </a:cubicBezTo>
                <a:cubicBezTo>
                  <a:pt x="4510669" y="146128"/>
                  <a:pt x="4518289" y="153748"/>
                  <a:pt x="4502097" y="160416"/>
                </a:cubicBezTo>
                <a:cubicBezTo>
                  <a:pt x="4485904" y="167083"/>
                  <a:pt x="4485904" y="155653"/>
                  <a:pt x="4487809" y="151843"/>
                </a:cubicBezTo>
                <a:cubicBezTo>
                  <a:pt x="4488762" y="148033"/>
                  <a:pt x="4491619" y="148033"/>
                  <a:pt x="4488762" y="146128"/>
                </a:cubicBezTo>
                <a:cubicBezTo>
                  <a:pt x="4486856" y="144223"/>
                  <a:pt x="4485904" y="143271"/>
                  <a:pt x="4484952" y="139461"/>
                </a:cubicBezTo>
                <a:cubicBezTo>
                  <a:pt x="4483999" y="136603"/>
                  <a:pt x="4483999" y="133746"/>
                  <a:pt x="4493524" y="130888"/>
                </a:cubicBezTo>
                <a:cubicBezTo>
                  <a:pt x="4503049" y="128031"/>
                  <a:pt x="4506859" y="117553"/>
                  <a:pt x="4509716" y="109933"/>
                </a:cubicBezTo>
                <a:cubicBezTo>
                  <a:pt x="4512574" y="102313"/>
                  <a:pt x="4514479" y="99456"/>
                  <a:pt x="4519241" y="96598"/>
                </a:cubicBezTo>
                <a:cubicBezTo>
                  <a:pt x="4523052" y="93741"/>
                  <a:pt x="4527814" y="87073"/>
                  <a:pt x="4527814" y="85168"/>
                </a:cubicBezTo>
                <a:cubicBezTo>
                  <a:pt x="4527814" y="83263"/>
                  <a:pt x="4528766" y="80405"/>
                  <a:pt x="4531624" y="77547"/>
                </a:cubicBezTo>
                <a:cubicBezTo>
                  <a:pt x="4535434" y="74690"/>
                  <a:pt x="4536387" y="68975"/>
                  <a:pt x="4539244" y="65165"/>
                </a:cubicBezTo>
                <a:cubicBezTo>
                  <a:pt x="4541149" y="63261"/>
                  <a:pt x="4546864" y="64212"/>
                  <a:pt x="4553531" y="62307"/>
                </a:cubicBezTo>
                <a:cubicBezTo>
                  <a:pt x="4556389" y="62307"/>
                  <a:pt x="4559247" y="61355"/>
                  <a:pt x="4562104" y="61355"/>
                </a:cubicBezTo>
                <a:cubicBezTo>
                  <a:pt x="4572581" y="62307"/>
                  <a:pt x="4582106" y="58498"/>
                  <a:pt x="4585916" y="54687"/>
                </a:cubicBezTo>
                <a:cubicBezTo>
                  <a:pt x="4589727" y="50878"/>
                  <a:pt x="4590679" y="49925"/>
                  <a:pt x="4598299" y="48972"/>
                </a:cubicBezTo>
                <a:cubicBezTo>
                  <a:pt x="4605919" y="48020"/>
                  <a:pt x="4615444" y="40400"/>
                  <a:pt x="4617349" y="38496"/>
                </a:cubicBezTo>
                <a:cubicBezTo>
                  <a:pt x="4619254" y="36590"/>
                  <a:pt x="4624016" y="35637"/>
                  <a:pt x="4632589" y="35637"/>
                </a:cubicBezTo>
                <a:cubicBezTo>
                  <a:pt x="4641162" y="35637"/>
                  <a:pt x="4644972" y="31827"/>
                  <a:pt x="4646877" y="28017"/>
                </a:cubicBezTo>
                <a:cubicBezTo>
                  <a:pt x="4648781" y="25160"/>
                  <a:pt x="4656402" y="21350"/>
                  <a:pt x="4662116" y="25160"/>
                </a:cubicBezTo>
                <a:cubicBezTo>
                  <a:pt x="4668784" y="28970"/>
                  <a:pt x="4676404" y="26112"/>
                  <a:pt x="4678309" y="24207"/>
                </a:cubicBezTo>
                <a:cubicBezTo>
                  <a:pt x="4680214" y="22302"/>
                  <a:pt x="4687834" y="19445"/>
                  <a:pt x="4694502" y="22302"/>
                </a:cubicBezTo>
                <a:cubicBezTo>
                  <a:pt x="4701169" y="24207"/>
                  <a:pt x="4706884" y="18492"/>
                  <a:pt x="4709741" y="16587"/>
                </a:cubicBezTo>
                <a:cubicBezTo>
                  <a:pt x="4712599" y="14682"/>
                  <a:pt x="4715456" y="10872"/>
                  <a:pt x="4721172" y="11825"/>
                </a:cubicBezTo>
                <a:cubicBezTo>
                  <a:pt x="4726887" y="12777"/>
                  <a:pt x="4728791" y="8967"/>
                  <a:pt x="4730697" y="6110"/>
                </a:cubicBezTo>
                <a:cubicBezTo>
                  <a:pt x="4732602" y="3252"/>
                  <a:pt x="4737364" y="-1510"/>
                  <a:pt x="4743079" y="3252"/>
                </a:cubicBezTo>
                <a:cubicBezTo>
                  <a:pt x="4748794" y="8015"/>
                  <a:pt x="4751652" y="4205"/>
                  <a:pt x="4753556" y="3252"/>
                </a:cubicBezTo>
                <a:cubicBezTo>
                  <a:pt x="4754509" y="2300"/>
                  <a:pt x="4755462" y="871"/>
                  <a:pt x="4756533" y="276"/>
                </a:cubicBezTo>
                <a:close/>
              </a:path>
            </a:pathLst>
          </a:custGeom>
          <a:solidFill>
            <a:schemeClr val="tx2"/>
          </a:solidFill>
          <a:ln w="5759" cap="flat">
            <a:noFill/>
            <a:prstDash val="solid"/>
            <a:miter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sz="1300" b="1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五角星 27"/>
          <p:cNvSpPr/>
          <p:nvPr/>
        </p:nvSpPr>
        <p:spPr>
          <a:xfrm>
            <a:off x="2974422" y="3429000"/>
            <a:ext cx="304823" cy="30482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1" name="图形 30" descr="上一步 纯色填充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20262190">
            <a:off x="1522307" y="3290871"/>
            <a:ext cx="1419597" cy="706741"/>
          </a:xfrm>
          <a:prstGeom prst="rect">
            <a:avLst/>
          </a:prstGeom>
        </p:spPr>
      </p:pic>
      <p:pic>
        <p:nvPicPr>
          <p:cNvPr id="34" name="图形 33" descr="上一步 纯色填充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302765">
            <a:off x="3070223" y="2944785"/>
            <a:ext cx="914400" cy="470156"/>
          </a:xfrm>
          <a:prstGeom prst="rect">
            <a:avLst/>
          </a:prstGeom>
        </p:spPr>
      </p:pic>
      <p:pic>
        <p:nvPicPr>
          <p:cNvPr id="52" name="图形 51" descr="上一步 纯色填充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7612603">
            <a:off x="1862373" y="3814078"/>
            <a:ext cx="1419597" cy="706741"/>
          </a:xfrm>
          <a:prstGeom prst="rect">
            <a:avLst/>
          </a:prstGeom>
        </p:spPr>
      </p:pic>
      <p:pic>
        <p:nvPicPr>
          <p:cNvPr id="53" name="图形 52" descr="上一步 纯色填充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4157868">
            <a:off x="2635128" y="3946489"/>
            <a:ext cx="1158087" cy="706741"/>
          </a:xfrm>
          <a:prstGeom prst="rect">
            <a:avLst/>
          </a:prstGeom>
        </p:spPr>
      </p:pic>
      <p:pic>
        <p:nvPicPr>
          <p:cNvPr id="54" name="图形 53" descr="上一步 纯色填充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 rot="12806491">
            <a:off x="3073006" y="3796026"/>
            <a:ext cx="792729" cy="483775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5" cstate="hqprint"/>
          <a:stretch>
            <a:fillRect/>
          </a:stretch>
        </p:blipFill>
        <p:spPr>
          <a:xfrm>
            <a:off x="5695330" y="2592539"/>
            <a:ext cx="1453617" cy="973649"/>
          </a:xfrm>
          <a:prstGeom prst="rect">
            <a:avLst/>
          </a:prstGeom>
        </p:spPr>
      </p:pic>
      <p:cxnSp>
        <p:nvCxnSpPr>
          <p:cNvPr id="36" name="直接连接符 57"/>
          <p:cNvCxnSpPr/>
          <p:nvPr/>
        </p:nvCxnSpPr>
        <p:spPr>
          <a:xfrm>
            <a:off x="5180735" y="1393346"/>
            <a:ext cx="3575913" cy="0"/>
          </a:xfrm>
          <a:prstGeom prst="line">
            <a:avLst/>
          </a:prstGeom>
          <a:noFill/>
          <a:ln w="28575" cap="rnd" cmpd="sng" algn="ctr">
            <a:solidFill>
              <a:srgbClr val="FFFFFF">
                <a:lumMod val="75000"/>
              </a:srgbClr>
            </a:solidFill>
            <a:prstDash val="solid"/>
            <a:round/>
          </a:ln>
          <a:effectLst/>
        </p:spPr>
      </p:cxnSp>
      <p:pic>
        <p:nvPicPr>
          <p:cNvPr id="38" name="图片 37"/>
          <p:cNvPicPr>
            <a:picLocks noChangeAspect="1"/>
          </p:cNvPicPr>
          <p:nvPr/>
        </p:nvPicPr>
        <p:blipFill>
          <a:blip r:embed="rId6" cstate="hqprint"/>
          <a:stretch>
            <a:fillRect/>
          </a:stretch>
        </p:blipFill>
        <p:spPr>
          <a:xfrm>
            <a:off x="4791472" y="5074646"/>
            <a:ext cx="1321911" cy="959708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7" cstate="hqprint"/>
          <a:stretch>
            <a:fillRect/>
          </a:stretch>
        </p:blipFill>
        <p:spPr>
          <a:xfrm>
            <a:off x="7066697" y="4285283"/>
            <a:ext cx="802233" cy="806312"/>
          </a:xfrm>
          <a:prstGeom prst="rect">
            <a:avLst/>
          </a:prstGeom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8" cstate="hqprint"/>
          <a:stretch>
            <a:fillRect/>
          </a:stretch>
        </p:blipFill>
        <p:spPr>
          <a:xfrm>
            <a:off x="7087533" y="5193988"/>
            <a:ext cx="795303" cy="813275"/>
          </a:xfrm>
          <a:prstGeom prst="rect">
            <a:avLst/>
          </a:prstGeom>
        </p:spPr>
      </p:pic>
      <p:pic>
        <p:nvPicPr>
          <p:cNvPr id="44" name="图片 43"/>
          <p:cNvPicPr>
            <a:picLocks noChangeAspect="1"/>
          </p:cNvPicPr>
          <p:nvPr/>
        </p:nvPicPr>
        <p:blipFill rotWithShape="1">
          <a:blip r:embed="rId9" cstate="hqprint"/>
          <a:srcRect/>
          <a:stretch>
            <a:fillRect/>
          </a:stretch>
        </p:blipFill>
        <p:spPr>
          <a:xfrm>
            <a:off x="7004008" y="1721402"/>
            <a:ext cx="989631" cy="903817"/>
          </a:xfrm>
          <a:prstGeom prst="rect">
            <a:avLst/>
          </a:prstGeom>
        </p:spPr>
      </p:pic>
      <p:pic>
        <p:nvPicPr>
          <p:cNvPr id="46" name="图片 45"/>
          <p:cNvPicPr>
            <a:picLocks noChangeAspect="1"/>
          </p:cNvPicPr>
          <p:nvPr/>
        </p:nvPicPr>
        <p:blipFill>
          <a:blip r:embed="rId10" cstate="hqprint"/>
          <a:stretch>
            <a:fillRect/>
          </a:stretch>
        </p:blipFill>
        <p:spPr>
          <a:xfrm>
            <a:off x="5931979" y="5096437"/>
            <a:ext cx="1134718" cy="928199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45716" y="4301093"/>
            <a:ext cx="832077" cy="774692"/>
          </a:xfrm>
          <a:prstGeom prst="rect">
            <a:avLst/>
          </a:prstGeom>
        </p:spPr>
      </p:pic>
      <p:pic>
        <p:nvPicPr>
          <p:cNvPr id="49" name="图片 48"/>
          <p:cNvPicPr>
            <a:picLocks noChangeAspect="1"/>
          </p:cNvPicPr>
          <p:nvPr/>
        </p:nvPicPr>
        <p:blipFill>
          <a:blip r:embed="rId12" cstate="hqprint"/>
          <a:stretch>
            <a:fillRect/>
          </a:stretch>
        </p:blipFill>
        <p:spPr>
          <a:xfrm>
            <a:off x="7123847" y="2747520"/>
            <a:ext cx="683755" cy="683755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13" cstate="hqprint"/>
          <a:stretch>
            <a:fillRect/>
          </a:stretch>
        </p:blipFill>
        <p:spPr>
          <a:xfrm>
            <a:off x="5057683" y="2669633"/>
            <a:ext cx="812091" cy="809771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14" cstate="hqprint"/>
          <a:stretch>
            <a:fillRect/>
          </a:stretch>
        </p:blipFill>
        <p:spPr>
          <a:xfrm>
            <a:off x="8110538" y="3503974"/>
            <a:ext cx="720000" cy="720000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15" cstate="hqprint"/>
          <a:stretch>
            <a:fillRect/>
          </a:stretch>
        </p:blipFill>
        <p:spPr>
          <a:xfrm>
            <a:off x="8041066" y="5163929"/>
            <a:ext cx="813275" cy="813275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16" cstate="hqprint"/>
          <a:stretch>
            <a:fillRect/>
          </a:stretch>
        </p:blipFill>
        <p:spPr>
          <a:xfrm>
            <a:off x="5060950" y="4236168"/>
            <a:ext cx="832078" cy="832078"/>
          </a:xfrm>
          <a:prstGeom prst="rect">
            <a:avLst/>
          </a:prstGeom>
        </p:spPr>
      </p:pic>
      <p:pic>
        <p:nvPicPr>
          <p:cNvPr id="58" name="图片 5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048008" y="2711275"/>
            <a:ext cx="805154" cy="782367"/>
          </a:xfrm>
          <a:prstGeom prst="rect">
            <a:avLst/>
          </a:prstGeom>
        </p:spPr>
      </p:pic>
      <p:pic>
        <p:nvPicPr>
          <p:cNvPr id="59" name="图片 5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017529" y="1778925"/>
            <a:ext cx="943537" cy="862197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028275" y="1758263"/>
            <a:ext cx="866958" cy="866958"/>
          </a:xfrm>
          <a:prstGeom prst="rect">
            <a:avLst/>
          </a:prstGeom>
        </p:spPr>
      </p:pic>
      <p:pic>
        <p:nvPicPr>
          <p:cNvPr id="61" name="图片 60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969597" y="1730872"/>
            <a:ext cx="929464" cy="929464"/>
          </a:xfrm>
          <a:prstGeom prst="rect">
            <a:avLst/>
          </a:prstGeom>
        </p:spPr>
      </p:pic>
      <p:pic>
        <p:nvPicPr>
          <p:cNvPr id="62" name="图片 61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07639" y="3489702"/>
            <a:ext cx="720000" cy="716400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90872" y="3482426"/>
            <a:ext cx="720000" cy="723618"/>
          </a:xfrm>
          <a:prstGeom prst="rect">
            <a:avLst/>
          </a:prstGeom>
        </p:spPr>
      </p:pic>
      <p:pic>
        <p:nvPicPr>
          <p:cNvPr id="64" name="图片 63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126722" y="3482426"/>
            <a:ext cx="738387" cy="723619"/>
          </a:xfrm>
          <a:prstGeom prst="rect">
            <a:avLst/>
          </a:prstGeom>
        </p:spPr>
      </p:pic>
      <p:pic>
        <p:nvPicPr>
          <p:cNvPr id="65" name="图片 64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103991" y="4301093"/>
            <a:ext cx="754503" cy="754503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78155"/>
          </a:xfrm>
        </p:spPr>
        <p:txBody>
          <a:bodyPr/>
          <a:lstStyle/>
          <a:p>
            <a:r>
              <a:rPr kumimoji="1" lang="en-US" altLang="zh-CN" dirty="0"/>
              <a:t>……</a:t>
            </a:r>
            <a:r>
              <a:rPr kumimoji="1" lang="zh-CN" altLang="en-US" dirty="0"/>
              <a:t>大量</a:t>
            </a:r>
            <a:r>
              <a:rPr kumimoji="1" lang="en-US" altLang="zh-CN" dirty="0"/>
              <a:t>500</a:t>
            </a:r>
            <a:r>
              <a:rPr kumimoji="1" dirty="0"/>
              <a:t>强</a:t>
            </a:r>
            <a:r>
              <a:rPr kumimoji="1" lang="zh-CN" altLang="en-US" dirty="0"/>
              <a:t>企业与</a:t>
            </a:r>
            <a:r>
              <a:rPr kumimoji="1" lang="en-US" altLang="zh-CN" dirty="0"/>
              <a:t>CDA</a:t>
            </a:r>
            <a:r>
              <a:rPr kumimoji="1" dirty="0"/>
              <a:t>展开合作</a:t>
            </a:r>
            <a:endParaRPr kumimoji="1" dirty="0"/>
          </a:p>
        </p:txBody>
      </p:sp>
      <p:pic>
        <p:nvPicPr>
          <p:cNvPr id="54" name="图像" descr="图像"/>
          <p:cNvPicPr>
            <a:picLocks noChangeAspect="1"/>
          </p:cNvPicPr>
          <p:nvPr/>
        </p:nvPicPr>
        <p:blipFill>
          <a:blip r:embed="rId1" cstate="hqprint"/>
          <a:srcRect/>
          <a:stretch>
            <a:fillRect/>
          </a:stretch>
        </p:blipFill>
        <p:spPr>
          <a:xfrm>
            <a:off x="6907343" y="2583611"/>
            <a:ext cx="745989" cy="819308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55" name="图片 54"/>
          <p:cNvPicPr>
            <a:picLocks noChangeAspect="1"/>
          </p:cNvPicPr>
          <p:nvPr/>
        </p:nvPicPr>
        <p:blipFill rotWithShape="1">
          <a:blip r:embed="rId2" cstate="hqprint"/>
          <a:srcRect/>
          <a:stretch>
            <a:fillRect/>
          </a:stretch>
        </p:blipFill>
        <p:spPr>
          <a:xfrm>
            <a:off x="2212093" y="2583611"/>
            <a:ext cx="741240" cy="720000"/>
          </a:xfrm>
          <a:prstGeom prst="rect">
            <a:avLst/>
          </a:prstGeom>
        </p:spPr>
      </p:pic>
      <p:pic>
        <p:nvPicPr>
          <p:cNvPr id="56" name="图像" descr="图像"/>
          <p:cNvPicPr>
            <a:picLocks noChangeAspect="1"/>
          </p:cNvPicPr>
          <p:nvPr/>
        </p:nvPicPr>
        <p:blipFill>
          <a:blip r:embed="rId3" cstate="hqprint"/>
          <a:srcRect/>
          <a:stretch>
            <a:fillRect/>
          </a:stretch>
        </p:blipFill>
        <p:spPr>
          <a:xfrm>
            <a:off x="6121635" y="4086353"/>
            <a:ext cx="1040362" cy="734788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58" name="华为logo.png" descr="华为logo.png"/>
          <p:cNvPicPr>
            <a:picLocks noChangeAspect="1"/>
          </p:cNvPicPr>
          <p:nvPr/>
        </p:nvPicPr>
        <p:blipFill>
          <a:blip r:embed="rId4" cstate="hqprint"/>
          <a:srcRect/>
          <a:stretch>
            <a:fillRect/>
          </a:stretch>
        </p:blipFill>
        <p:spPr>
          <a:xfrm>
            <a:off x="893995" y="4063568"/>
            <a:ext cx="675187" cy="660845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59" name="图像" descr="图像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3584635" y="3623498"/>
            <a:ext cx="1100915" cy="1100915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4908986" y="4497823"/>
            <a:ext cx="1169318" cy="366404"/>
          </a:xfrm>
          <a:prstGeom prst="rect">
            <a:avLst/>
          </a:prstGeom>
        </p:spPr>
      </p:pic>
      <p:sp>
        <p:nvSpPr>
          <p:cNvPr id="61" name="矩形 60"/>
          <p:cNvSpPr/>
          <p:nvPr/>
        </p:nvSpPr>
        <p:spPr>
          <a:xfrm>
            <a:off x="4707117" y="1193401"/>
            <a:ext cx="4983558" cy="823955"/>
          </a:xfrm>
          <a:prstGeom prst="rect">
            <a:avLst/>
          </a:prstGeom>
        </p:spPr>
        <p:txBody>
          <a:bodyPr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buSzPct val="25000"/>
            </a:pPr>
            <a:r>
              <a:rPr lang="en-US" altLang="zh-CN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+</a:t>
            </a:r>
            <a:r>
              <a:rPr lang="zh-CN" altLang="en-US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，</a:t>
            </a:r>
            <a:r>
              <a:rPr lang="en-US" altLang="zh-CN" sz="3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0+</a:t>
            </a:r>
            <a:r>
              <a:rPr lang="zh-CN" altLang="en-US" sz="3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次</a:t>
            </a:r>
            <a:endParaRPr lang="en-US" altLang="zh-CN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7" name="图像" descr="图像"/>
          <p:cNvPicPr>
            <a:picLocks noChangeAspect="1"/>
          </p:cNvPicPr>
          <p:nvPr/>
        </p:nvPicPr>
        <p:blipFill>
          <a:blip r:embed="rId7" cstate="hqprint"/>
          <a:srcRect/>
          <a:stretch>
            <a:fillRect/>
          </a:stretch>
        </p:blipFill>
        <p:spPr>
          <a:xfrm>
            <a:off x="807741" y="5544481"/>
            <a:ext cx="836549" cy="661742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78" name="图像" descr="图像"/>
          <p:cNvPicPr>
            <a:picLocks noChangeAspect="1"/>
          </p:cNvPicPr>
          <p:nvPr/>
        </p:nvPicPr>
        <p:blipFill>
          <a:blip r:embed="rId8" cstate="hqprint"/>
          <a:srcRect/>
          <a:stretch>
            <a:fillRect/>
          </a:stretch>
        </p:blipFill>
        <p:spPr>
          <a:xfrm>
            <a:off x="1580855" y="5473788"/>
            <a:ext cx="730728" cy="87192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79" name="图像" descr="图像"/>
          <p:cNvPicPr>
            <a:picLocks noChangeAspect="1"/>
          </p:cNvPicPr>
          <p:nvPr/>
        </p:nvPicPr>
        <p:blipFill>
          <a:blip r:embed="rId9" cstate="hqprint"/>
          <a:srcRect/>
          <a:stretch>
            <a:fillRect/>
          </a:stretch>
        </p:blipFill>
        <p:spPr>
          <a:xfrm>
            <a:off x="2472736" y="5594820"/>
            <a:ext cx="730728" cy="661743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80" name="渣打银行logo.png" descr="渣打银行logo.png"/>
          <p:cNvPicPr>
            <a:picLocks noChangeAspect="1"/>
          </p:cNvPicPr>
          <p:nvPr/>
        </p:nvPicPr>
        <p:blipFill>
          <a:blip r:embed="rId10" cstate="hqprint"/>
          <a:srcRect/>
          <a:stretch>
            <a:fillRect/>
          </a:stretch>
        </p:blipFill>
        <p:spPr>
          <a:xfrm>
            <a:off x="5375127" y="2585008"/>
            <a:ext cx="519680" cy="720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81" name="图像" descr="图像"/>
          <p:cNvPicPr>
            <a:picLocks noChangeAspect="1"/>
          </p:cNvPicPr>
          <p:nvPr/>
        </p:nvPicPr>
        <p:blipFill>
          <a:blip r:embed="rId11" cstate="hqprint"/>
          <a:srcRect/>
          <a:stretch>
            <a:fillRect/>
          </a:stretch>
        </p:blipFill>
        <p:spPr>
          <a:xfrm>
            <a:off x="2692822" y="4104667"/>
            <a:ext cx="891813" cy="686438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82" name="图片 81" descr="timg[2]"/>
          <p:cNvPicPr>
            <a:picLocks noChangeAspect="1"/>
          </p:cNvPicPr>
          <p:nvPr/>
        </p:nvPicPr>
        <p:blipFill>
          <a:blip r:embed="rId12" cstate="email"/>
          <a:stretch>
            <a:fillRect/>
          </a:stretch>
        </p:blipFill>
        <p:spPr>
          <a:xfrm>
            <a:off x="3348575" y="5498652"/>
            <a:ext cx="788535" cy="788535"/>
          </a:xfrm>
          <a:prstGeom prst="rect">
            <a:avLst/>
          </a:prstGeom>
        </p:spPr>
      </p:pic>
      <p:pic>
        <p:nvPicPr>
          <p:cNvPr id="84" name="中国人寿logo.gif" descr="中国人寿logo.gif"/>
          <p:cNvPicPr>
            <a:picLocks noChangeAspect="1"/>
          </p:cNvPicPr>
          <p:nvPr/>
        </p:nvPicPr>
        <p:blipFill>
          <a:blip r:embed="rId13" cstate="email"/>
          <a:srcRect t="32199" r="60827" b="28230"/>
          <a:stretch>
            <a:fillRect/>
          </a:stretch>
        </p:blipFill>
        <p:spPr>
          <a:xfrm>
            <a:off x="7858585" y="2612740"/>
            <a:ext cx="788536" cy="661742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91" name="图片 90"/>
          <p:cNvPicPr>
            <a:picLocks noChangeAspect="1"/>
          </p:cNvPicPr>
          <p:nvPr/>
        </p:nvPicPr>
        <p:blipFill>
          <a:blip r:embed="rId14" cstate="email"/>
          <a:stretch>
            <a:fillRect/>
          </a:stretch>
        </p:blipFill>
        <p:spPr>
          <a:xfrm>
            <a:off x="3648831" y="4497823"/>
            <a:ext cx="1022316" cy="461890"/>
          </a:xfrm>
          <a:prstGeom prst="rect">
            <a:avLst/>
          </a:prstGeom>
        </p:spPr>
      </p:pic>
      <p:pic>
        <p:nvPicPr>
          <p:cNvPr id="92" name="图片 91"/>
          <p:cNvPicPr>
            <a:picLocks noChangeAspect="1"/>
          </p:cNvPicPr>
          <p:nvPr/>
        </p:nvPicPr>
        <p:blipFill rotWithShape="1">
          <a:blip r:embed="rId15" cstate="hqprint"/>
          <a:srcRect/>
          <a:stretch>
            <a:fillRect/>
          </a:stretch>
        </p:blipFill>
        <p:spPr>
          <a:xfrm>
            <a:off x="4378472" y="5677561"/>
            <a:ext cx="1434217" cy="459813"/>
          </a:xfrm>
          <a:prstGeom prst="rect">
            <a:avLst/>
          </a:prstGeom>
        </p:spPr>
      </p:pic>
      <p:pic>
        <p:nvPicPr>
          <p:cNvPr id="93" name="图片 92"/>
          <p:cNvPicPr>
            <a:picLocks noChangeAspect="1"/>
          </p:cNvPicPr>
          <p:nvPr/>
        </p:nvPicPr>
        <p:blipFill>
          <a:blip r:embed="rId16" cstate="email"/>
          <a:stretch>
            <a:fillRect/>
          </a:stretch>
        </p:blipFill>
        <p:spPr>
          <a:xfrm>
            <a:off x="2339479" y="1193401"/>
            <a:ext cx="1028618" cy="924013"/>
          </a:xfrm>
          <a:prstGeom prst="rect">
            <a:avLst/>
          </a:prstGeom>
        </p:spPr>
      </p:pic>
      <p:pic>
        <p:nvPicPr>
          <p:cNvPr id="94" name="图片 93"/>
          <p:cNvPicPr>
            <a:picLocks noChangeAspect="1"/>
          </p:cNvPicPr>
          <p:nvPr/>
        </p:nvPicPr>
        <p:blipFill>
          <a:blip r:embed="rId17" cstate="email"/>
          <a:stretch>
            <a:fillRect/>
          </a:stretch>
        </p:blipFill>
        <p:spPr>
          <a:xfrm>
            <a:off x="7058318" y="4094525"/>
            <a:ext cx="1100915" cy="63658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541522" y="1921979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723036" y="2177709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文本框 103"/>
          <p:cNvSpPr txBox="1"/>
          <p:nvPr/>
        </p:nvSpPr>
        <p:spPr>
          <a:xfrm>
            <a:off x="287382" y="974955"/>
            <a:ext cx="423820" cy="1222913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顶尖互联网</a:t>
            </a:r>
            <a:endParaRPr kumimoji="1"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5" name="文本框 104"/>
          <p:cNvSpPr txBox="1"/>
          <p:nvPr/>
        </p:nvSpPr>
        <p:spPr>
          <a:xfrm>
            <a:off x="287382" y="2319722"/>
            <a:ext cx="423820" cy="1222913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顶尖金融</a:t>
            </a:r>
            <a:endParaRPr kumimoji="1"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" name="文本框 105"/>
          <p:cNvSpPr txBox="1"/>
          <p:nvPr/>
        </p:nvSpPr>
        <p:spPr>
          <a:xfrm>
            <a:off x="287382" y="3816446"/>
            <a:ext cx="423820" cy="1222913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国企业</a:t>
            </a:r>
            <a:endParaRPr kumimoji="1"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11202" y="974955"/>
            <a:ext cx="3857351" cy="12240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7" name="矩形 106"/>
          <p:cNvSpPr/>
          <p:nvPr/>
        </p:nvSpPr>
        <p:spPr>
          <a:xfrm>
            <a:off x="711202" y="2315461"/>
            <a:ext cx="8310560" cy="12240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8" name="矩形 107"/>
          <p:cNvSpPr/>
          <p:nvPr/>
        </p:nvSpPr>
        <p:spPr>
          <a:xfrm>
            <a:off x="711201" y="3800817"/>
            <a:ext cx="8310561" cy="12240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9" name="文本框 108"/>
          <p:cNvSpPr txBox="1"/>
          <p:nvPr/>
        </p:nvSpPr>
        <p:spPr>
          <a:xfrm>
            <a:off x="287382" y="5278981"/>
            <a:ext cx="423820" cy="1222913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央企国企</a:t>
            </a:r>
            <a:endParaRPr kumimoji="1"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711201" y="5263352"/>
            <a:ext cx="8310561" cy="12240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712525" y="4264684"/>
            <a:ext cx="913997" cy="366404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9" cstate="hqprint"/>
          <a:srcRect/>
          <a:stretch>
            <a:fillRect/>
          </a:stretch>
        </p:blipFill>
        <p:spPr>
          <a:xfrm>
            <a:off x="3456552" y="1193401"/>
            <a:ext cx="856408" cy="818268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20" cstate="print"/>
          <a:srcRect/>
          <a:stretch>
            <a:fillRect/>
          </a:stretch>
        </p:blipFill>
        <p:spPr>
          <a:xfrm>
            <a:off x="8051004" y="5650365"/>
            <a:ext cx="851189" cy="516858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084018" y="2636221"/>
            <a:ext cx="650156" cy="650156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34338" y="2513964"/>
            <a:ext cx="1156460" cy="878744"/>
          </a:xfrm>
          <a:prstGeom prst="rect">
            <a:avLst/>
          </a:prstGeom>
        </p:spPr>
      </p:pic>
      <p:pic>
        <p:nvPicPr>
          <p:cNvPr id="83" name="图片 82"/>
          <p:cNvPicPr>
            <a:picLocks noChangeAspect="1"/>
          </p:cNvPicPr>
          <p:nvPr/>
        </p:nvPicPr>
        <p:blipFill>
          <a:blip r:embed="rId23" cstate="email"/>
          <a:stretch>
            <a:fillRect/>
          </a:stretch>
        </p:blipFill>
        <p:spPr>
          <a:xfrm>
            <a:off x="813456" y="1120541"/>
            <a:ext cx="1661669" cy="835465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4380507" y="2593336"/>
            <a:ext cx="741241" cy="741241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206712" y="2656499"/>
            <a:ext cx="952500" cy="6096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4783096" y="4049773"/>
            <a:ext cx="1463913" cy="317372"/>
          </a:xfrm>
          <a:prstGeom prst="rect">
            <a:avLst/>
          </a:prstGeom>
        </p:spPr>
      </p:pic>
      <p:pic>
        <p:nvPicPr>
          <p:cNvPr id="57" name="长安福特logo.png" descr="长安福特logo.png"/>
          <p:cNvPicPr>
            <a:picLocks noChangeAspect="1"/>
          </p:cNvPicPr>
          <p:nvPr/>
        </p:nvPicPr>
        <p:blipFill>
          <a:blip r:embed="rId27" cstate="hqprint"/>
          <a:srcRect/>
          <a:stretch>
            <a:fillRect/>
          </a:stretch>
        </p:blipFill>
        <p:spPr>
          <a:xfrm>
            <a:off x="7957074" y="4229615"/>
            <a:ext cx="924849" cy="36640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096101" y="5610210"/>
            <a:ext cx="1636194" cy="557002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lang="en-US" altLang="zh-CN" dirty="0"/>
              <a:t>……</a:t>
            </a:r>
            <a:r>
              <a:rPr lang="zh-CN" altLang="en-US" dirty="0"/>
              <a:t>许多知名企业将</a:t>
            </a:r>
            <a:r>
              <a:rPr lang="en-US" altLang="zh-CN" dirty="0"/>
              <a:t>CDA</a:t>
            </a:r>
            <a:r>
              <a:rPr lang="zh-CN" altLang="en-US" dirty="0"/>
              <a:t>纳入招聘管理体系</a:t>
            </a:r>
            <a:endParaRPr lang="zh-CN" altLang="en-US" dirty="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 cstate="print"/>
          <a:srcRect t="-2480" b="-21824"/>
          <a:stretch>
            <a:fillRect/>
          </a:stretch>
        </p:blipFill>
        <p:spPr>
          <a:xfrm>
            <a:off x="3143966" y="2052663"/>
            <a:ext cx="3143660" cy="4223084"/>
          </a:xfrm>
          <a:prstGeom prst="rect">
            <a:avLst/>
          </a:prstGeom>
          <a:solidFill>
            <a:srgbClr val="FFFFFF">
              <a:lumMod val="95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iSḷíďé"/>
          <p:cNvSpPr/>
          <p:nvPr/>
        </p:nvSpPr>
        <p:spPr bwMode="auto">
          <a:xfrm>
            <a:off x="303168" y="974520"/>
            <a:ext cx="9041596" cy="11419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通、神州数码、中软国际等企业招聘职位描述中将</a:t>
            </a:r>
            <a:r>
              <a:rPr kumimoji="1"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证人列入优先考虑</a:t>
            </a:r>
            <a:endParaRPr kumimoji="1"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德勤（</a:t>
            </a:r>
            <a:r>
              <a:rPr kumimoji="1" lang="en-GB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loitte</a:t>
            </a:r>
            <a:r>
              <a:rPr kumimoji="1" lang="zh-CN" altLang="en-GB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kumimoji="1" lang="en-GB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纳入员工手册，给予员工</a:t>
            </a:r>
            <a:r>
              <a:rPr kumimoji="1" lang="en-GB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试补贴</a:t>
            </a:r>
            <a:endParaRPr kumimoji="1" lang="zh-CN" altLang="en-US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电信、苏宁等企业引进</a:t>
            </a:r>
            <a:r>
              <a:rPr kumimoji="1" lang="en-GB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参考标准，在企业内部推动</a:t>
            </a:r>
            <a:r>
              <a:rPr kumimoji="1" lang="en-GB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考试</a:t>
            </a:r>
            <a:endParaRPr kumimoji="1"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2" cstate="hqprint"/>
          <a:srcRect/>
          <a:stretch>
            <a:fillRect/>
          </a:stretch>
        </p:blipFill>
        <p:spPr>
          <a:xfrm>
            <a:off x="414520" y="2052663"/>
            <a:ext cx="2708799" cy="42026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矩形 20"/>
          <p:cNvSpPr/>
          <p:nvPr/>
        </p:nvSpPr>
        <p:spPr bwMode="auto">
          <a:xfrm>
            <a:off x="3894700" y="5332122"/>
            <a:ext cx="913598" cy="323403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948080" y="6141351"/>
            <a:ext cx="1069736" cy="14136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3" cstate="print"/>
          <a:srcRect l="-1"/>
          <a:stretch>
            <a:fillRect/>
          </a:stretch>
        </p:blipFill>
        <p:spPr>
          <a:xfrm>
            <a:off x="6363358" y="2052663"/>
            <a:ext cx="2995568" cy="42327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矩形 23"/>
          <p:cNvSpPr/>
          <p:nvPr/>
        </p:nvSpPr>
        <p:spPr bwMode="auto">
          <a:xfrm>
            <a:off x="429101" y="1981711"/>
            <a:ext cx="8957976" cy="4215572"/>
          </a:xfrm>
          <a:prstGeom prst="rect">
            <a:avLst/>
          </a:prstGeom>
          <a:solidFill>
            <a:srgbClr val="FFFFFF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5" name="Picture 4" descr="https://ss0.bdstatic.com/70cFuHSh_Q1YnxGkpoWK1HF6hhy/it/u=1608950143,2248164687&amp;fm=26&amp;gp=0.jpg"/>
          <p:cNvPicPr>
            <a:picLocks noChangeAspect="1" noChangeArrowheads="1"/>
          </p:cNvPicPr>
          <p:nvPr/>
        </p:nvPicPr>
        <p:blipFill rotWithShape="1">
          <a:blip r:embed="rId4" cstate="hqprint"/>
          <a:srcRect/>
          <a:stretch>
            <a:fillRect/>
          </a:stretch>
        </p:blipFill>
        <p:spPr bwMode="auto">
          <a:xfrm>
            <a:off x="2244395" y="2099191"/>
            <a:ext cx="908542" cy="498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https://timgsa.baidu.com/timg?image&amp;quality=80&amp;size=b9999_10000&amp;sec=1596290032795&amp;di=086d827d912b5d300b6a808708cde227&amp;imgtype=0&amp;src=http%3A%2F%2Fpic2.16pic.com%2F00%2F01%2F42%2F16pic_142543_b.jpg"/>
          <p:cNvPicPr>
            <a:picLocks noChangeAspect="1" noChangeArrowheads="1"/>
          </p:cNvPicPr>
          <p:nvPr/>
        </p:nvPicPr>
        <p:blipFill rotWithShape="1">
          <a:blip r:embed="rId5" cstate="hqprint"/>
          <a:srcRect/>
          <a:stretch>
            <a:fillRect/>
          </a:stretch>
        </p:blipFill>
        <p:spPr bwMode="auto">
          <a:xfrm>
            <a:off x="5014176" y="2099191"/>
            <a:ext cx="1245939" cy="42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https://timgsa.baidu.com/timg?image&amp;quality=80&amp;size=b9999_10000&amp;sec=1596290520981&amp;di=1331bbedf24a84fcf3181d4736ccb2cd&amp;imgtype=0&amp;src=http%3A%2F%2Fgss0.baidu.com%2F94o3dSag_xI4khGko9WTAnF6hhy%2Fzhidao%2Fpic%2Fitem%2F71cf3bc79f3df8dc414e916eca11728b461028d9.jpg"/>
          <p:cNvPicPr>
            <a:picLocks noChangeAspect="1" noChangeArrowheads="1"/>
          </p:cNvPicPr>
          <p:nvPr/>
        </p:nvPicPr>
        <p:blipFill rotWithShape="1">
          <a:blip r:embed="rId6" cstate="hqprint"/>
          <a:srcRect/>
          <a:stretch>
            <a:fillRect/>
          </a:stretch>
        </p:blipFill>
        <p:spPr bwMode="auto">
          <a:xfrm>
            <a:off x="8348399" y="2099191"/>
            <a:ext cx="1038678" cy="44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矩形 27"/>
          <p:cNvSpPr/>
          <p:nvPr/>
        </p:nvSpPr>
        <p:spPr bwMode="auto">
          <a:xfrm>
            <a:off x="1557610" y="2744630"/>
            <a:ext cx="6528996" cy="12151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400" b="1" kern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「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有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分析师证书优先」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任意多边形 21"/>
          <p:cNvSpPr/>
          <p:nvPr/>
        </p:nvSpPr>
        <p:spPr bwMode="auto">
          <a:xfrm>
            <a:off x="1557610" y="3959816"/>
            <a:ext cx="1950133" cy="2141374"/>
          </a:xfrm>
          <a:custGeom>
            <a:avLst/>
            <a:gdLst>
              <a:gd name="connsiteX0" fmla="*/ 0 w 1706880"/>
              <a:gd name="connsiteY0" fmla="*/ 1645920 h 1645920"/>
              <a:gd name="connsiteX1" fmla="*/ 441960 w 1706880"/>
              <a:gd name="connsiteY1" fmla="*/ 548640 h 1645920"/>
              <a:gd name="connsiteX2" fmla="*/ 1706880 w 1706880"/>
              <a:gd name="connsiteY2" fmla="*/ 0 h 164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06880" h="1645920">
                <a:moveTo>
                  <a:pt x="0" y="1645920"/>
                </a:moveTo>
                <a:cubicBezTo>
                  <a:pt x="78740" y="1234440"/>
                  <a:pt x="157480" y="822960"/>
                  <a:pt x="441960" y="548640"/>
                </a:cubicBezTo>
                <a:cubicBezTo>
                  <a:pt x="726440" y="274320"/>
                  <a:pt x="1445260" y="101600"/>
                  <a:pt x="1706880" y="0"/>
                </a:cubicBezTo>
              </a:path>
            </a:pathLst>
          </a:custGeom>
          <a:noFill/>
          <a:ln w="7620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" name="任意多边形 22"/>
          <p:cNvSpPr/>
          <p:nvPr/>
        </p:nvSpPr>
        <p:spPr bwMode="auto">
          <a:xfrm flipH="1">
            <a:off x="5559032" y="3967328"/>
            <a:ext cx="1729196" cy="1784153"/>
          </a:xfrm>
          <a:custGeom>
            <a:avLst/>
            <a:gdLst>
              <a:gd name="connsiteX0" fmla="*/ 0 w 1706880"/>
              <a:gd name="connsiteY0" fmla="*/ 1645920 h 1645920"/>
              <a:gd name="connsiteX1" fmla="*/ 441960 w 1706880"/>
              <a:gd name="connsiteY1" fmla="*/ 548640 h 1645920"/>
              <a:gd name="connsiteX2" fmla="*/ 1706880 w 1706880"/>
              <a:gd name="connsiteY2" fmla="*/ 0 h 164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06880" h="1645920">
                <a:moveTo>
                  <a:pt x="0" y="1645920"/>
                </a:moveTo>
                <a:cubicBezTo>
                  <a:pt x="78740" y="1234440"/>
                  <a:pt x="157480" y="822960"/>
                  <a:pt x="441960" y="548640"/>
                </a:cubicBezTo>
                <a:cubicBezTo>
                  <a:pt x="726440" y="274320"/>
                  <a:pt x="1445260" y="101600"/>
                  <a:pt x="1706880" y="0"/>
                </a:cubicBezTo>
              </a:path>
            </a:pathLst>
          </a:custGeom>
          <a:noFill/>
          <a:ln w="7620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1" name="任意多边形 24"/>
          <p:cNvSpPr/>
          <p:nvPr/>
        </p:nvSpPr>
        <p:spPr bwMode="auto">
          <a:xfrm>
            <a:off x="4258477" y="3967328"/>
            <a:ext cx="549821" cy="1350689"/>
          </a:xfrm>
          <a:custGeom>
            <a:avLst/>
            <a:gdLst>
              <a:gd name="connsiteX0" fmla="*/ 27093 w 408093"/>
              <a:gd name="connsiteY0" fmla="*/ 1173480 h 1198027"/>
              <a:gd name="connsiteX1" fmla="*/ 11853 w 408093"/>
              <a:gd name="connsiteY1" fmla="*/ 1112520 h 1198027"/>
              <a:gd name="connsiteX2" fmla="*/ 179493 w 408093"/>
              <a:gd name="connsiteY2" fmla="*/ 472440 h 1198027"/>
              <a:gd name="connsiteX3" fmla="*/ 408093 w 408093"/>
              <a:gd name="connsiteY3" fmla="*/ 0 h 1198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093" h="1198027">
                <a:moveTo>
                  <a:pt x="27093" y="1173480"/>
                </a:moveTo>
                <a:cubicBezTo>
                  <a:pt x="6773" y="1201420"/>
                  <a:pt x="-13547" y="1229360"/>
                  <a:pt x="11853" y="1112520"/>
                </a:cubicBezTo>
                <a:cubicBezTo>
                  <a:pt x="37253" y="995680"/>
                  <a:pt x="113453" y="657860"/>
                  <a:pt x="179493" y="472440"/>
                </a:cubicBezTo>
                <a:cubicBezTo>
                  <a:pt x="245533" y="287020"/>
                  <a:pt x="326813" y="143510"/>
                  <a:pt x="408093" y="0"/>
                </a:cubicBezTo>
              </a:path>
            </a:pathLst>
          </a:custGeom>
          <a:noFill/>
          <a:ln w="571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 rotWithShape="1">
          <a:blip r:embed="rId7" cstate="hqprint"/>
          <a:srcRect/>
          <a:stretch>
            <a:fillRect/>
          </a:stretch>
        </p:blipFill>
        <p:spPr>
          <a:xfrm>
            <a:off x="1365837" y="4235485"/>
            <a:ext cx="2521347" cy="323403"/>
          </a:xfrm>
          <a:prstGeom prst="rect">
            <a:avLst/>
          </a:prstGeom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图片 33"/>
          <p:cNvPicPr>
            <a:picLocks noChangeAspect="1"/>
          </p:cNvPicPr>
          <p:nvPr/>
        </p:nvPicPr>
        <p:blipFill rotWithShape="1">
          <a:blip r:embed="rId8" cstate="hqprint"/>
          <a:srcRect/>
          <a:stretch>
            <a:fillRect/>
          </a:stretch>
        </p:blipFill>
        <p:spPr>
          <a:xfrm>
            <a:off x="1365837" y="4657823"/>
            <a:ext cx="6375321" cy="356590"/>
          </a:xfrm>
          <a:prstGeom prst="rect">
            <a:avLst/>
          </a:prstGeom>
          <a:solidFill>
            <a:srgbClr val="FFFFFF">
              <a:lumMod val="95000"/>
            </a:srgbClr>
          </a:solidFill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图片 34"/>
          <p:cNvPicPr>
            <a:picLocks noChangeAspect="1"/>
          </p:cNvPicPr>
          <p:nvPr/>
        </p:nvPicPr>
        <p:blipFill rotWithShape="1">
          <a:blip r:embed="rId9" cstate="print"/>
          <a:srcRect l="-3"/>
          <a:stretch>
            <a:fillRect/>
          </a:stretch>
        </p:blipFill>
        <p:spPr>
          <a:xfrm>
            <a:off x="4939719" y="4228892"/>
            <a:ext cx="2922738" cy="327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>
                <a:solidFill>
                  <a:schemeClr val="tx2"/>
                </a:solidFill>
              </a:rPr>
              <a:t>CDA </a:t>
            </a:r>
            <a:r>
              <a:rPr kumimoji="1" lang="en-US" altLang="zh-CN" baseline="30000" dirty="0">
                <a:solidFill>
                  <a:schemeClr val="tx2"/>
                </a:solidFill>
              </a:rPr>
              <a:t>®</a:t>
            </a:r>
            <a:r>
              <a:rPr kumimoji="1" lang="zh-CN" altLang="en-US" dirty="0">
                <a:solidFill>
                  <a:schemeClr val="tx2"/>
                </a:solidFill>
              </a:rPr>
              <a:t>认证赋能传统专业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312420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赋能传统专业学习内容，逐渐从定性转向定量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kumimoji="1" lang="zh-CN" altLang="en-US" dirty="0"/>
              <a:t>财会专业数字化升级，从三张表到一幅图</a:t>
            </a:r>
            <a:endParaRPr kumimoji="1"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429101" y="5820569"/>
            <a:ext cx="2696347" cy="879941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繁杂的财务记账工作，逐步被软件的自动化记账替代，财务人员需要技术升级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783439" y="5739279"/>
            <a:ext cx="6024945" cy="879941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专业增加数据分析技能，不仅解决了面对大量数据无从下手的问题，大大的节约了工作时间，同时还可以进行数据的可视化分析，生成非常炫酷、清晰的图表以及动态视图，更加符合企业用人要求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2" name="Picture 2" descr="财务大数据可视化系统-热备资讯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3681071" y="2181949"/>
            <a:ext cx="5221630" cy="3235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中英文会计报表格式_word文档在线阅读与下载_无忧文档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0702" y="2181949"/>
            <a:ext cx="2322209" cy="3235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占位符 2"/>
          <p:cNvSpPr txBox="1"/>
          <p:nvPr/>
        </p:nvSpPr>
        <p:spPr>
          <a:xfrm>
            <a:off x="360725" y="1014790"/>
            <a:ext cx="9109199" cy="105157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2400" dirty="0"/>
              <a:t>从记账人转变为数据支撑决策的关键角色</a:t>
            </a:r>
            <a:endParaRPr kumimoji="1" lang="zh-CN" altLang="en-US" sz="2400" dirty="0"/>
          </a:p>
          <a:p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清华大学调整会计本科招生，纳入经济与金融联合招生，全球顶尖的高校已经在做出调整，来帮助学生更好地学习适合这个时代的知识技能。</a:t>
            </a:r>
            <a:endParaRPr kumimoji="1" lang="zh-CN" altLang="en-US" sz="2000" dirty="0"/>
          </a:p>
        </p:txBody>
      </p:sp>
      <p:sp>
        <p:nvSpPr>
          <p:cNvPr id="11" name="等腰三角形 22"/>
          <p:cNvSpPr/>
          <p:nvPr/>
        </p:nvSpPr>
        <p:spPr bwMode="auto">
          <a:xfrm rot="5400000">
            <a:off x="2223457" y="3668116"/>
            <a:ext cx="2359602" cy="147145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12" name="Picture 4" descr="中英文会计报表格式_word文档在线阅读与下载_无忧文档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102" y="2334349"/>
            <a:ext cx="2322209" cy="3235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中英文会计报表格式_word文档在线阅读与下载_无忧文档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5502" y="2486749"/>
            <a:ext cx="2322209" cy="3235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目录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20631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2"/>
                </a:solidFill>
              </a:rPr>
              <a:t>一、行业趋势</a:t>
            </a:r>
            <a:endParaRPr lang="en-US" altLang="zh-CN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2"/>
                </a:solidFill>
              </a:rPr>
              <a:t>二、高校现状</a:t>
            </a:r>
            <a:endParaRPr lang="en-US" altLang="zh-CN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2"/>
                </a:solidFill>
              </a:rPr>
              <a:t>三、</a:t>
            </a:r>
            <a:r>
              <a:rPr lang="en-US" altLang="zh-CN" dirty="0">
                <a:solidFill>
                  <a:schemeClr val="tx2"/>
                </a:solidFill>
              </a:rPr>
              <a:t>CDA</a:t>
            </a:r>
            <a:r>
              <a:rPr kumimoji="1" lang="en-US" altLang="zh-CN" baseline="30000" dirty="0">
                <a:solidFill>
                  <a:schemeClr val="tx2"/>
                </a:solidFill>
              </a:rPr>
              <a:t> ®</a:t>
            </a:r>
            <a:r>
              <a:rPr lang="zh-CN" altLang="en-US" dirty="0">
                <a:solidFill>
                  <a:schemeClr val="tx2"/>
                </a:solidFill>
              </a:rPr>
              <a:t>认证标准</a:t>
            </a:r>
            <a:endParaRPr lang="en-US" altLang="zh-CN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chemeClr val="tx2"/>
                </a:solidFill>
              </a:rPr>
              <a:t>四、</a:t>
            </a:r>
            <a:r>
              <a:rPr kumimoji="1" lang="en-US" altLang="zh-CN" dirty="0">
                <a:solidFill>
                  <a:schemeClr val="tx2"/>
                </a:solidFill>
              </a:rPr>
              <a:t>CDA </a:t>
            </a:r>
            <a:r>
              <a:rPr kumimoji="1" lang="en-US" altLang="zh-CN" baseline="30000" dirty="0">
                <a:solidFill>
                  <a:schemeClr val="tx2"/>
                </a:solidFill>
              </a:rPr>
              <a:t>®</a:t>
            </a:r>
            <a:r>
              <a:rPr kumimoji="1" lang="zh-CN" altLang="en-US" dirty="0">
                <a:solidFill>
                  <a:schemeClr val="tx2"/>
                </a:solidFill>
              </a:rPr>
              <a:t>认证赋能传统专业</a:t>
            </a:r>
            <a:endParaRPr kumimoji="1" lang="zh-CN" altLang="en-US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chemeClr val="tx2"/>
                </a:solidFill>
              </a:rPr>
              <a:t>五、知名高校合作案例</a:t>
            </a:r>
            <a:endParaRPr kumimoji="1" lang="zh-CN" altLang="en-US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chemeClr val="tx2"/>
                </a:solidFill>
              </a:rPr>
              <a:t>六、合作政策简介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81038" y="1801733"/>
            <a:ext cx="8327547" cy="478155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与高校合作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312420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以</a:t>
            </a:r>
            <a:r>
              <a:rPr kumimoji="1" lang="en-US" altLang="zh-CN" dirty="0">
                <a:solidFill>
                  <a:schemeClr val="tx2"/>
                </a:solidFill>
              </a:rPr>
              <a:t>CDA</a:t>
            </a:r>
            <a:r>
              <a:rPr kumimoji="1" lang="zh-CN" altLang="en-US" dirty="0">
                <a:solidFill>
                  <a:schemeClr val="tx2"/>
                </a:solidFill>
              </a:rPr>
              <a:t>认证带动数据科学教育整体赋能，从内容到产品，全方位服务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kumimoji="1" lang="en-US" altLang="zh-CN" dirty="0"/>
              <a:t>CDA</a:t>
            </a:r>
            <a:r>
              <a:rPr kumimoji="1" lang="zh-CN" altLang="en-US" dirty="0"/>
              <a:t> 认证有助于提升学生就业率及薪资待遇</a:t>
            </a:r>
            <a:endParaRPr kumimoji="1" lang="zh-CN" altLang="en-US" dirty="0"/>
          </a:p>
        </p:txBody>
      </p:sp>
      <p:sp>
        <p:nvSpPr>
          <p:cNvPr id="9" name="文本占位符 2"/>
          <p:cNvSpPr txBox="1"/>
          <p:nvPr/>
        </p:nvSpPr>
        <p:spPr>
          <a:xfrm>
            <a:off x="360725" y="1014790"/>
            <a:ext cx="4955754" cy="154686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sz="2400" dirty="0"/>
              <a:t>CDA</a:t>
            </a:r>
            <a:r>
              <a:rPr kumimoji="1" lang="zh-CN" altLang="en-US" sz="2400" dirty="0"/>
              <a:t> 持证人薪资高于行业平均水平</a:t>
            </a:r>
            <a:endParaRPr kumimoji="1" lang="zh-CN" altLang="en-US" sz="2400" dirty="0"/>
          </a:p>
          <a:p>
            <a:r>
              <a:rPr kumimoji="1" lang="en-US" altLang="zh-CN" sz="1800" b="0" dirty="0">
                <a:solidFill>
                  <a:srgbClr val="000000"/>
                </a:solidFill>
                <a:cs typeface="+mn-cs"/>
              </a:rPr>
              <a:t>CDA</a:t>
            </a:r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 认证考试中心通过对人才市场上的招聘数据进行分析，与</a:t>
            </a:r>
            <a:r>
              <a:rPr kumimoji="1" lang="en-US" altLang="zh-CN" sz="1800" b="0" dirty="0">
                <a:solidFill>
                  <a:srgbClr val="000000"/>
                </a:solidFill>
                <a:cs typeface="+mn-cs"/>
              </a:rPr>
              <a:t>CDA</a:t>
            </a:r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持证人的数据对比得到如下结果，</a:t>
            </a:r>
            <a:r>
              <a:rPr kumimoji="1" lang="en-US" altLang="zh-CN" sz="1800" b="0" dirty="0">
                <a:solidFill>
                  <a:srgbClr val="000000"/>
                </a:solidFill>
                <a:cs typeface="+mn-cs"/>
              </a:rPr>
              <a:t>CDA</a:t>
            </a:r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持证人的薪资要明显优于非持证人</a:t>
            </a:r>
            <a:endParaRPr kumimoji="1" lang="zh-CN" altLang="en-US" sz="2000" dirty="0"/>
          </a:p>
        </p:txBody>
      </p:sp>
      <p:sp>
        <p:nvSpPr>
          <p:cNvPr id="6" name="矩形 5"/>
          <p:cNvSpPr/>
          <p:nvPr/>
        </p:nvSpPr>
        <p:spPr>
          <a:xfrm>
            <a:off x="342012" y="6010214"/>
            <a:ext cx="7768526" cy="75725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证人薪资数据来自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证人调查报告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持证人数据来源与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oss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聘、拉勾、智联招聘等招聘平台展示薪酬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1"/>
          <a:srcRect l="5873"/>
          <a:stretch>
            <a:fillRect/>
          </a:stretch>
        </p:blipFill>
        <p:spPr>
          <a:xfrm>
            <a:off x="121185" y="3206134"/>
            <a:ext cx="5111828" cy="2083987"/>
          </a:xfrm>
          <a:prstGeom prst="rect">
            <a:avLst/>
          </a:prstGeom>
        </p:spPr>
      </p:pic>
      <p:sp>
        <p:nvSpPr>
          <p:cNvPr id="7" name="文本占位符 2"/>
          <p:cNvSpPr txBox="1"/>
          <p:nvPr/>
        </p:nvSpPr>
        <p:spPr>
          <a:xfrm>
            <a:off x="5316479" y="1014790"/>
            <a:ext cx="4310427" cy="129794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2400" dirty="0"/>
              <a:t>学员推荐就业率 </a:t>
            </a:r>
            <a:r>
              <a:rPr kumimoji="1" lang="en-US" altLang="zh-CN" sz="2400" dirty="0"/>
              <a:t>96%</a:t>
            </a:r>
            <a:r>
              <a:rPr kumimoji="1" lang="zh-CN" altLang="en-US" sz="2400" dirty="0"/>
              <a:t> 以上</a:t>
            </a:r>
            <a:endParaRPr kumimoji="1" lang="zh-CN" altLang="en-US" sz="2400" dirty="0"/>
          </a:p>
          <a:p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学员就业遍布全国各地，各行各业，甚至还有海外就业，整个行业对于数据分析人才的需求旺盛</a:t>
            </a:r>
            <a:endParaRPr kumimoji="1" lang="zh-CN" altLang="en-US" sz="20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6479" y="2885171"/>
            <a:ext cx="4312805" cy="2555531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lang="en-US" altLang="zh-CN" dirty="0"/>
              <a:t>CDA</a:t>
            </a:r>
            <a:r>
              <a:rPr lang="zh-CN" altLang="en-US" dirty="0"/>
              <a:t> 数据分析师认证，助力高校教改</a:t>
            </a:r>
            <a:endParaRPr lang="en-US" altLang="zh-CN" dirty="0"/>
          </a:p>
        </p:txBody>
      </p:sp>
      <p:sp>
        <p:nvSpPr>
          <p:cNvPr id="7" name="文本占位符 2"/>
          <p:cNvSpPr txBox="1"/>
          <p:nvPr/>
        </p:nvSpPr>
        <p:spPr>
          <a:xfrm>
            <a:off x="360725" y="1014790"/>
            <a:ext cx="9109199" cy="837565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落实教育部的“新文科建设、应用型本科教改与第五次学科评估”等教改精神与工作部署，</a:t>
            </a:r>
            <a:r>
              <a:rPr kumimoji="1" lang="en-GB" altLang="zh-CN" sz="1800" b="0" dirty="0">
                <a:solidFill>
                  <a:srgbClr val="000000"/>
                </a:solidFill>
                <a:cs typeface="+mn-cs"/>
              </a:rPr>
              <a:t>CDA </a:t>
            </a:r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认证及配套的各类教学资源（视频课程、案例库、教学数据集、题库、大数据实验室等）可成为高校学科教学改革工作中的重要支撑。</a:t>
            </a:r>
            <a:endParaRPr kumimoji="1" lang="zh-CN" altLang="en-US" sz="1800" b="0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8" name="出版图书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2619193" y="2268867"/>
            <a:ext cx="3974112" cy="349970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703" y="2194230"/>
            <a:ext cx="2223755" cy="3648980"/>
          </a:xfrm>
          <a:prstGeom prst="rect">
            <a:avLst/>
          </a:prstGeom>
        </p:spPr>
      </p:pic>
      <p:sp>
        <p:nvSpPr>
          <p:cNvPr id="10" name="文本占位符 2"/>
          <p:cNvSpPr txBox="1"/>
          <p:nvPr/>
        </p:nvSpPr>
        <p:spPr>
          <a:xfrm>
            <a:off x="3333521" y="5997754"/>
            <a:ext cx="2768066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sz="2000" dirty="0"/>
              <a:t>教材案例</a:t>
            </a:r>
            <a:endParaRPr kumimoji="1" lang="zh-CN" altLang="en-US" sz="2000" dirty="0"/>
          </a:p>
        </p:txBody>
      </p:sp>
      <p:sp>
        <p:nvSpPr>
          <p:cNvPr id="11" name="文本占位符 2"/>
          <p:cNvSpPr txBox="1"/>
          <p:nvPr/>
        </p:nvSpPr>
        <p:spPr>
          <a:xfrm>
            <a:off x="6455666" y="5997754"/>
            <a:ext cx="2768066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sz="2000" dirty="0"/>
              <a:t>大数据实验室</a:t>
            </a:r>
            <a:endParaRPr kumimoji="1" lang="zh-CN" altLang="en-US" sz="2000" dirty="0"/>
          </a:p>
        </p:txBody>
      </p:sp>
      <p:sp>
        <p:nvSpPr>
          <p:cNvPr id="12" name="文本占位符 2"/>
          <p:cNvSpPr txBox="1"/>
          <p:nvPr/>
        </p:nvSpPr>
        <p:spPr>
          <a:xfrm>
            <a:off x="360725" y="5997754"/>
            <a:ext cx="2768066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sz="2000" dirty="0"/>
              <a:t>视频课程</a:t>
            </a:r>
            <a:endParaRPr kumimoji="1" lang="zh-CN" altLang="en-US" sz="2000" dirty="0"/>
          </a:p>
        </p:txBody>
      </p:sp>
      <p:pic>
        <p:nvPicPr>
          <p:cNvPr id="3074" name="Picture 2" descr="“大数据实验室 大学”的图片搜索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746" y="2599023"/>
            <a:ext cx="2296129" cy="1148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“大数据实验室 大学”的图片搜索结果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746" y="3885098"/>
            <a:ext cx="2296129" cy="1713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81038" y="1801733"/>
            <a:ext cx="8327547" cy="478155"/>
          </a:xfrm>
        </p:spPr>
        <p:txBody>
          <a:bodyPr/>
          <a:lstStyle/>
          <a:p>
            <a:r>
              <a:rPr kumimoji="1" lang="en-US" altLang="zh-CN" dirty="0">
                <a:solidFill>
                  <a:schemeClr val="tx2"/>
                </a:solidFill>
                <a:sym typeface="+mn-ea"/>
              </a:rPr>
              <a:t>CDA </a:t>
            </a:r>
            <a:r>
              <a:rPr kumimoji="1" lang="en-US" altLang="zh-CN" baseline="30000" dirty="0">
                <a:solidFill>
                  <a:schemeClr val="tx2"/>
                </a:solidFill>
                <a:sym typeface="+mn-ea"/>
              </a:rPr>
              <a:t>®</a:t>
            </a:r>
            <a:r>
              <a:rPr kumimoji="1" dirty="0">
                <a:solidFill>
                  <a:schemeClr val="tx2"/>
                </a:solidFill>
                <a:sym typeface="+mn-ea"/>
              </a:rPr>
              <a:t>认证补贴</a:t>
            </a:r>
            <a:r>
              <a:rPr kumimoji="1" lang="zh-CN" altLang="en-US" dirty="0">
                <a:solidFill>
                  <a:schemeClr val="tx2"/>
                </a:solidFill>
              </a:rPr>
              <a:t>合作方案简介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313932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以支持促合作，以互利达共赢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42015" y="136523"/>
            <a:ext cx="8327547" cy="480131"/>
          </a:xfrm>
        </p:spPr>
        <p:txBody>
          <a:bodyPr/>
          <a:lstStyle/>
          <a:p>
            <a:r>
              <a:rPr kumimoji="1" lang="zh-CN" altLang="en-US" dirty="0"/>
              <a:t>让每一个学生至少参加一次 </a:t>
            </a:r>
            <a:r>
              <a:rPr kumimoji="1" lang="en-US" altLang="zh-CN" dirty="0"/>
              <a:t>CDA</a:t>
            </a:r>
            <a:r>
              <a:rPr kumimoji="1" lang="zh-CN" altLang="en-US" dirty="0"/>
              <a:t> 认证考试</a:t>
            </a:r>
            <a:endParaRPr kumimoji="1" lang="zh-CN" altLang="en-US" dirty="0"/>
          </a:p>
        </p:txBody>
      </p:sp>
      <p:sp>
        <p:nvSpPr>
          <p:cNvPr id="49" name="文本框 48"/>
          <p:cNvSpPr txBox="1"/>
          <p:nvPr/>
        </p:nvSpPr>
        <p:spPr>
          <a:xfrm>
            <a:off x="342014" y="1108103"/>
            <a:ext cx="4683355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endParaRPr lang="zh-CN" altLang="en-US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6" name="表格 55"/>
          <p:cNvGraphicFramePr>
            <a:graphicFrameLocks noGrp="1"/>
          </p:cNvGraphicFramePr>
          <p:nvPr/>
        </p:nvGraphicFramePr>
        <p:xfrm>
          <a:off x="342014" y="2010282"/>
          <a:ext cx="8690862" cy="3052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245"/>
                <a:gridCol w="1377245"/>
                <a:gridCol w="1377245"/>
                <a:gridCol w="1377245"/>
                <a:gridCol w="3181882"/>
              </a:tblGrid>
              <a:tr h="497725"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补贴轮次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报名费</a:t>
                      </a:r>
                      <a:endParaRPr lang="en-US" altLang="zh-CN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元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）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补贴额度</a:t>
                      </a:r>
                      <a:endParaRPr lang="en-US" altLang="zh-CN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元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）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缴费</a:t>
                      </a:r>
                      <a:endParaRPr lang="en-US" altLang="zh-CN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元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）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SzPct val="25000"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补贴形式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051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轮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补贴费用仅限CDA认证level 1级考试费用（原价</a:t>
                      </a:r>
                      <a:r>
                        <a:rPr lang="en-US" altLang="zh-CN" sz="1400" dirty="0"/>
                        <a:t>1200</a:t>
                      </a:r>
                      <a:r>
                        <a:rPr lang="zh-CN" altLang="en-US" sz="1400" dirty="0"/>
                        <a:t>元</a:t>
                      </a:r>
                      <a:r>
                        <a:rPr lang="en-US" altLang="zh-CN" sz="1400" dirty="0"/>
                        <a:t>/</a:t>
                      </a:r>
                      <a:r>
                        <a:rPr lang="zh-CN" altLang="en-US" sz="1400" dirty="0"/>
                        <a:t>生）使用。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49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二轮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/>
                        <a:t>40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补贴费用仅限CDA认证level 1级考试费用使用。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49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三轮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/>
                        <a:t>60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补贴费用仅限CDA认证level 1级考试费用使用。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51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四轮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/>
                        <a:t>100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补贴费用仅限CDA认证level 1级考试费用使用。第四次补贴将作为长期补贴政策补贴合作高等院校的考生。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文本框 15"/>
          <p:cNvSpPr txBox="1"/>
          <p:nvPr/>
        </p:nvSpPr>
        <p:spPr>
          <a:xfrm>
            <a:off x="5072743" y="6498771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342012" y="6010214"/>
            <a:ext cx="7768526" cy="75725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注：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AutoNum type="arabicPeriod"/>
            </a:pP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次补贴政策时间为：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至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1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FontTx/>
              <a:buAutoNum type="arabicPeriod"/>
            </a:pP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合作高等院校每年至少举办</a:t>
            </a:r>
            <a:r>
              <a:rPr lang="en-GB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r>
              <a:rPr lang="en-GB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 1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考试两次</a:t>
            </a:r>
            <a:endParaRPr lang="zh-CN" altLang="en-US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2"/>
          <p:cNvSpPr txBox="1"/>
          <p:nvPr/>
        </p:nvSpPr>
        <p:spPr>
          <a:xfrm>
            <a:off x="360725" y="1014790"/>
            <a:ext cx="9109199" cy="77457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2000" dirty="0"/>
              <a:t>补贴对象：</a:t>
            </a:r>
            <a:endParaRPr kumimoji="1" lang="en-US" altLang="zh-CN" sz="2000" dirty="0"/>
          </a:p>
          <a:p>
            <a:r>
              <a:rPr kumimoji="1" lang="zh-CN" altLang="en-US" sz="2000" dirty="0"/>
              <a:t>与 </a:t>
            </a:r>
            <a:r>
              <a:rPr kumimoji="1" lang="en-GB" altLang="zh-CN" sz="2000" dirty="0"/>
              <a:t>CDA</a:t>
            </a:r>
            <a:r>
              <a:rPr kumimoji="1" lang="zh-CN" altLang="en-US" sz="2000" dirty="0"/>
              <a:t> 认证考试中心签署战略合作协议的高等院校在校优秀大学生</a:t>
            </a:r>
            <a:endParaRPr kumimoji="1" lang="zh-CN" altLang="en-US" sz="2000" dirty="0"/>
          </a:p>
        </p:txBody>
      </p:sp>
      <p:sp>
        <p:nvSpPr>
          <p:cNvPr id="9" name="矩形 8"/>
          <p:cNvSpPr/>
          <p:nvPr/>
        </p:nvSpPr>
        <p:spPr>
          <a:xfrm>
            <a:off x="342012" y="5083637"/>
            <a:ext cx="8672149" cy="909047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marL="285750" indent="-28575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中心负责提供密封试卷、考试规范、备考资料、考场巡考、考卷判卷、成绩录入、证书发放等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院校方负责提供考场、监考老师、考场布置、电子公示屏等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42015" y="136523"/>
            <a:ext cx="8327547" cy="480131"/>
          </a:xfrm>
        </p:spPr>
        <p:txBody>
          <a:bodyPr/>
          <a:lstStyle/>
          <a:p>
            <a:r>
              <a:rPr kumimoji="1" lang="zh-CN" altLang="en-US" dirty="0"/>
              <a:t>考试形式和流程：线上报名与考试，流程自动化</a:t>
            </a:r>
            <a:endParaRPr kumimoji="1" lang="zh-CN" altLang="en-US" dirty="0"/>
          </a:p>
        </p:txBody>
      </p:sp>
      <p:sp>
        <p:nvSpPr>
          <p:cNvPr id="49" name="文本框 48"/>
          <p:cNvSpPr txBox="1"/>
          <p:nvPr/>
        </p:nvSpPr>
        <p:spPr>
          <a:xfrm>
            <a:off x="342014" y="1108103"/>
            <a:ext cx="4683355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endParaRPr lang="zh-CN" altLang="en-US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072743" y="6498771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342012" y="6010214"/>
            <a:ext cx="7768526" cy="75725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注：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AutoNum type="arabicPeriod"/>
            </a:pP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提供整体考试宣传物料及解决方案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2"/>
          <p:cNvSpPr txBox="1"/>
          <p:nvPr/>
        </p:nvSpPr>
        <p:spPr>
          <a:xfrm>
            <a:off x="360725" y="1014790"/>
            <a:ext cx="9109199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2000" dirty="0"/>
              <a:t>考试流程</a:t>
            </a:r>
            <a:endParaRPr kumimoji="1" lang="zh-CN" altLang="en-US" sz="2000" dirty="0"/>
          </a:p>
        </p:txBody>
      </p:sp>
      <p:sp>
        <p:nvSpPr>
          <p:cNvPr id="9" name="矩形 8"/>
          <p:cNvSpPr/>
          <p:nvPr/>
        </p:nvSpPr>
        <p:spPr>
          <a:xfrm>
            <a:off x="342012" y="5083637"/>
            <a:ext cx="8672149" cy="909047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marL="285750" indent="-28575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认证中心负责组织统一考试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44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试院校方负责提供机房考场、监考老师、考场布置、电子公示屏等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598425" y="1977246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报名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下箭头 5"/>
          <p:cNvSpPr/>
          <p:nvPr/>
        </p:nvSpPr>
        <p:spPr>
          <a:xfrm>
            <a:off x="1562425" y="2558370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598425" y="3051694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 fontScale="85000" lnSpcReduction="10000"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册登录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善信息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下箭头 12"/>
          <p:cNvSpPr/>
          <p:nvPr/>
        </p:nvSpPr>
        <p:spPr>
          <a:xfrm>
            <a:off x="1562425" y="3632818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4" name="圆角矩形 13"/>
          <p:cNvSpPr/>
          <p:nvPr/>
        </p:nvSpPr>
        <p:spPr>
          <a:xfrm>
            <a:off x="598425" y="4213943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考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下箭头 14"/>
          <p:cNvSpPr/>
          <p:nvPr/>
        </p:nvSpPr>
        <p:spPr>
          <a:xfrm rot="16200000">
            <a:off x="3211704" y="4213943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圆角矩形 16"/>
          <p:cNvSpPr/>
          <p:nvPr/>
        </p:nvSpPr>
        <p:spPr>
          <a:xfrm>
            <a:off x="3896981" y="4214569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考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vel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下箭头 17"/>
          <p:cNvSpPr/>
          <p:nvPr/>
        </p:nvSpPr>
        <p:spPr>
          <a:xfrm rot="10800000">
            <a:off x="4988637" y="3638963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圆角矩形 18"/>
          <p:cNvSpPr/>
          <p:nvPr/>
        </p:nvSpPr>
        <p:spPr>
          <a:xfrm>
            <a:off x="3896980" y="3051694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加考试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3860249" y="1979688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成绩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下箭头 20"/>
          <p:cNvSpPr/>
          <p:nvPr/>
        </p:nvSpPr>
        <p:spPr>
          <a:xfrm rot="10800000">
            <a:off x="4988636" y="2488045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下箭头 21"/>
          <p:cNvSpPr/>
          <p:nvPr/>
        </p:nvSpPr>
        <p:spPr>
          <a:xfrm rot="16200000">
            <a:off x="6487449" y="1950205"/>
            <a:ext cx="328773" cy="4454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" name="圆角矩形 22"/>
          <p:cNvSpPr/>
          <p:nvPr/>
        </p:nvSpPr>
        <p:spPr>
          <a:xfrm>
            <a:off x="7013800" y="1978836"/>
            <a:ext cx="2256775" cy="4454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 defTabSz="914400"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取证书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" cstate="email"/>
          <a:stretch>
            <a:fillRect/>
          </a:stretch>
        </p:blipFill>
        <p:spPr>
          <a:xfrm>
            <a:off x="6696269" y="2558369"/>
            <a:ext cx="2574307" cy="3580803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3" name="Picture 2" descr="https://www.cda.cn/uploadfile/image/20180110/20180110155842_19442.jpg"/>
          <p:cNvPicPr>
            <a:picLocks noChangeAspect="1" noChangeArrowheads="1"/>
          </p:cNvPicPr>
          <p:nvPr/>
        </p:nvPicPr>
        <p:blipFill rotWithShape="1">
          <a:blip r:embed="rId1" cstate="hqprint"/>
          <a:srcRect/>
          <a:stretch>
            <a:fillRect/>
          </a:stretch>
        </p:blipFill>
        <p:spPr bwMode="auto">
          <a:xfrm>
            <a:off x="0" y="1285053"/>
            <a:ext cx="9906000" cy="557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 bwMode="auto">
          <a:xfrm>
            <a:off x="0" y="1285053"/>
            <a:ext cx="9906000" cy="5558229"/>
          </a:xfrm>
          <a:prstGeom prst="rect">
            <a:avLst/>
          </a:prstGeom>
          <a:solidFill>
            <a:schemeClr val="bg1">
              <a:alpha val="5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178415" y="3292620"/>
            <a:ext cx="7844440" cy="17708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noAutofit/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tabLst>
                <a:tab pos="571500" algn="l"/>
              </a:tabLst>
              <a:defRPr kumimoji="1" sz="21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kumimoji="1" sz="2100" b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tabLst>
                <a:tab pos="8559800" algn="r"/>
              </a:tabLst>
            </a:pPr>
            <a:endParaRPr lang="en-US" altLang="de-DE" sz="2400" kern="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直接连接符 2"/>
          <p:cNvCxnSpPr/>
          <p:nvPr/>
        </p:nvCxnSpPr>
        <p:spPr bwMode="auto">
          <a:xfrm>
            <a:off x="1343975" y="4152874"/>
            <a:ext cx="75133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ïṩlidê"/>
          <p:cNvSpPr/>
          <p:nvPr/>
        </p:nvSpPr>
        <p:spPr>
          <a:xfrm flipH="1">
            <a:off x="1343975" y="3552856"/>
            <a:ext cx="7383610" cy="41261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40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</a:t>
            </a:r>
            <a:endParaRPr lang="zh-CN" altLang="en-US" sz="4000" b="1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ïṩlidê"/>
          <p:cNvSpPr/>
          <p:nvPr/>
        </p:nvSpPr>
        <p:spPr>
          <a:xfrm flipH="1">
            <a:off x="2404267" y="4401875"/>
            <a:ext cx="5392737" cy="41261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每个学生都参加一次 </a:t>
            </a:r>
            <a:r>
              <a:rPr lang="en-GB" altLang="zh-CN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 </a:t>
            </a:r>
            <a:r>
              <a:rPr lang="zh-CN" altLang="en-US" sz="20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考试</a:t>
            </a:r>
            <a:endParaRPr lang="zh-CN" altLang="en-US" sz="200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ïṩlidê"/>
          <p:cNvSpPr/>
          <p:nvPr/>
        </p:nvSpPr>
        <p:spPr>
          <a:xfrm flipH="1">
            <a:off x="9428483" y="6512570"/>
            <a:ext cx="477517" cy="345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91440" tIns="45720" rIns="91440" bIns="45720" anchor="ctr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  <a:endParaRPr lang="zh-CN" altLang="en-US" sz="1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行业趋势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681038" y="2411333"/>
            <a:ext cx="8327547" cy="312420"/>
          </a:xfrm>
        </p:spPr>
        <p:txBody>
          <a:bodyPr/>
          <a:lstStyle/>
          <a:p>
            <a:r>
              <a:rPr lang="zh-CN" altLang="en-US" dirty="0">
                <a:solidFill>
                  <a:schemeClr val="tx2"/>
                </a:solidFill>
              </a:rPr>
              <a:t>数据赋能各行各业，数据人才紧缺，数据能力人人必备</a:t>
            </a:r>
            <a:endParaRPr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正在重构商业模式，改变人的认知与决策</a:t>
            </a:r>
            <a:endParaRPr kumimoji="1" lang="zh-CN" altLang="en-US" dirty="0"/>
          </a:p>
        </p:txBody>
      </p:sp>
      <p:sp>
        <p:nvSpPr>
          <p:cNvPr id="48" name="标题 2"/>
          <p:cNvSpPr txBox="1"/>
          <p:nvPr/>
        </p:nvSpPr>
        <p:spPr>
          <a:xfrm>
            <a:off x="443404" y="3477637"/>
            <a:ext cx="8589790" cy="137813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sz="3600" dirty="0">
              <a:latin typeface="Microsoft YaHei Light" panose="020B0503020204020204" pitchFamily="34" charset="-122"/>
              <a:ea typeface="Microsoft YaHei Light" panose="020B0503020204020204" pitchFamily="34" charset="-122"/>
            </a:endParaRPr>
          </a:p>
        </p:txBody>
      </p:sp>
      <p:sp>
        <p:nvSpPr>
          <p:cNvPr id="49" name="标题 2"/>
          <p:cNvSpPr txBox="1"/>
          <p:nvPr/>
        </p:nvSpPr>
        <p:spPr>
          <a:xfrm>
            <a:off x="429102" y="1723721"/>
            <a:ext cx="8589790" cy="31927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200" dirty="0"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2020</a:t>
            </a:r>
            <a:r>
              <a:rPr lang="zh-CN" altLang="en-US" sz="3200" dirty="0">
                <a:latin typeface="Microsoft YaHei Light" panose="020B0503020204020204" pitchFamily="34" charset="-122"/>
                <a:ea typeface="Microsoft YaHei Light" panose="020B0503020204020204" pitchFamily="34" charset="-122"/>
              </a:rPr>
              <a:t>年，中央文件首次将数据与土地、劳动力、资本、技术并列为五大要素，强调要加快培育数据要素市场。</a:t>
            </a:r>
            <a:endParaRPr lang="zh-CN" altLang="en-US" sz="3200" dirty="0">
              <a:latin typeface="Microsoft YaHei Light" panose="020B0503020204020204" pitchFamily="34" charset="-122"/>
              <a:ea typeface="Microsoft YaHei Light" panose="020B0503020204020204" pitchFamily="34" charset="-122"/>
            </a:endParaRPr>
          </a:p>
          <a:p>
            <a:r>
              <a:rPr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数据要素</a:t>
            </a:r>
            <a:r>
              <a:rPr lang="zh-CN"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已</a:t>
            </a:r>
            <a:r>
              <a:rPr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成为经济社会高质量运行的新赋能</a:t>
            </a:r>
            <a:r>
              <a:rPr lang="zh-CN"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。</a:t>
            </a:r>
            <a:endParaRPr lang="zh-CN" sz="3200" dirty="0">
              <a:latin typeface="Microsoft YaHei Light" panose="020B0503020204020204" pitchFamily="34" charset="-122"/>
              <a:ea typeface="Microsoft YaHei Light" panose="020B0503020204020204" pitchFamily="34" charset="-122"/>
              <a:sym typeface="+mn-ea"/>
            </a:endParaRPr>
          </a:p>
          <a:p>
            <a:r>
              <a:rPr lang="zh-CN" altLang="en-US"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数据将成为这个时代空气一样的存在，随处可遇，人人必需</a:t>
            </a:r>
            <a:r>
              <a:rPr lang="en-US" altLang="zh-CN"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……</a:t>
            </a:r>
            <a:endParaRPr lang="en-US" altLang="zh-CN" sz="3200" dirty="0">
              <a:latin typeface="Microsoft YaHei Light" panose="020B0503020204020204" pitchFamily="34" charset="-122"/>
              <a:ea typeface="Microsoft YaHei Light" panose="020B0503020204020204" pitchFamily="34" charset="-122"/>
            </a:endParaRPr>
          </a:p>
          <a:p>
            <a:r>
              <a:rPr lang="zh-CN" altLang="en-US" sz="3200" dirty="0">
                <a:latin typeface="Microsoft YaHei Light" panose="020B0503020204020204" pitchFamily="34" charset="-122"/>
                <a:ea typeface="Microsoft YaHei Light" panose="020B0503020204020204" pitchFamily="34" charset="-122"/>
                <a:sym typeface="+mn-ea"/>
              </a:rPr>
              <a:t>当前最紧缺的是数据相关人才。</a:t>
            </a:r>
            <a:endParaRPr lang="zh-CN" altLang="en-US" sz="3200" dirty="0">
              <a:latin typeface="Microsoft YaHei Light" panose="020B0503020204020204" pitchFamily="34" charset="-122"/>
              <a:ea typeface="Microsoft YaHei Light" panose="020B0503020204020204" pitchFamily="3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zh-CN" altLang="en-US" dirty="0"/>
              <a:t>数据分析已经渗透到各个行业</a:t>
            </a:r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53407" y="1377691"/>
          <a:ext cx="4628841" cy="3891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263"/>
                <a:gridCol w="661263"/>
                <a:gridCol w="661263"/>
                <a:gridCol w="661035"/>
                <a:gridCol w="661491"/>
                <a:gridCol w="661263"/>
                <a:gridCol w="661263"/>
              </a:tblGrid>
              <a:tr h="78609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科学与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分析岗位分类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业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融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险业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制造业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行业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健康和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社会</a:t>
                      </a:r>
                      <a:endParaRPr lang="en-US" altLang="zh-CN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救助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售业</a:t>
                      </a:r>
                      <a:endParaRPr lang="zh-CN" altLang="en-US" sz="10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5053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驱动的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决策者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3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7%</a:t>
                      </a:r>
                      <a:endParaRPr lang="zh-CN" altLang="zh-CN" sz="10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310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师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3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4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3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者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1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%</a:t>
                      </a:r>
                      <a:endParaRPr lang="zh-CN" altLang="zh-CN" sz="10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1310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分析师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4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%</a:t>
                      </a:r>
                      <a:endParaRPr lang="zh-CN" altLang="zh-CN" sz="10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775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科学家和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级</a:t>
                      </a:r>
                      <a:endParaRPr lang="en-US" altLang="zh-CN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师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3%</a:t>
                      </a:r>
                      <a:endParaRPr lang="zh-CN" altLang="zh-CN" sz="10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1310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分析经理</a:t>
                      </a:r>
                      <a:endParaRPr lang="zh-CN" alt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%</a:t>
                      </a:r>
                      <a:endParaRPr lang="zh-CN" altLang="zh-CN" sz="10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1%</a:t>
                      </a:r>
                      <a:endParaRPr lang="zh-CN" altLang="zh-CN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%</a:t>
                      </a:r>
                      <a:endParaRPr lang="zh-CN" altLang="zh-CN" sz="1000" b="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7" name="图表 26"/>
          <p:cNvGraphicFramePr/>
          <p:nvPr/>
        </p:nvGraphicFramePr>
        <p:xfrm>
          <a:off x="5023751" y="1400378"/>
          <a:ext cx="4655507" cy="3986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9" name="矩形 28"/>
          <p:cNvSpPr/>
          <p:nvPr/>
        </p:nvSpPr>
        <p:spPr>
          <a:xfrm>
            <a:off x="226740" y="6407659"/>
            <a:ext cx="46555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 Investing in America's data science and analytics talent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by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WC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965902" y="6266985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962792" y="6407658"/>
            <a:ext cx="47164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数据科学研究院发布的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人才及</a:t>
            </a:r>
            <a:r>
              <a:rPr lang="en-GB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证人行业报告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标题 2"/>
          <p:cNvSpPr txBox="1"/>
          <p:nvPr/>
        </p:nvSpPr>
        <p:spPr>
          <a:xfrm>
            <a:off x="227259" y="5666196"/>
            <a:ext cx="9363310" cy="648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革命时代的石油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 → 信息时代的互联网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端 → 智能时代的数据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标题 2"/>
          <p:cNvSpPr txBox="1"/>
          <p:nvPr/>
        </p:nvSpPr>
        <p:spPr>
          <a:xfrm>
            <a:off x="786955" y="959926"/>
            <a:ext cx="4121959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当前数据岗位按行业分布</a:t>
            </a:r>
            <a:r>
              <a:rPr kumimoji="1"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标题 2"/>
          <p:cNvSpPr txBox="1"/>
          <p:nvPr/>
        </p:nvSpPr>
        <p:spPr>
          <a:xfrm>
            <a:off x="5721780" y="963001"/>
            <a:ext cx="3868789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当前数据岗位按行业分布</a:t>
            </a:r>
            <a:r>
              <a:rPr kumimoji="1"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2]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等腰三角形 22"/>
          <p:cNvSpPr/>
          <p:nvPr/>
        </p:nvSpPr>
        <p:spPr bwMode="auto">
          <a:xfrm rot="10800000">
            <a:off x="3765569" y="5409176"/>
            <a:ext cx="2359602" cy="147145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59" name="图片 5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33257" y="935091"/>
            <a:ext cx="588523" cy="390917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1033" y="970295"/>
            <a:ext cx="525922" cy="280492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40" name="矩形 39"/>
          <p:cNvSpPr/>
          <p:nvPr/>
        </p:nvSpPr>
        <p:spPr>
          <a:xfrm>
            <a:off x="261033" y="6362217"/>
            <a:ext cx="48195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 Investing in America's data science and analytics talent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by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WC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6" name="图表 45"/>
          <p:cNvGraphicFramePr/>
          <p:nvPr/>
        </p:nvGraphicFramePr>
        <p:xfrm>
          <a:off x="5218934" y="1480558"/>
          <a:ext cx="4218805" cy="4424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5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9101" y="157490"/>
            <a:ext cx="8327547" cy="480131"/>
          </a:xfrm>
        </p:spPr>
        <p:txBody>
          <a:bodyPr/>
          <a:lstStyle/>
          <a:p>
            <a:pPr eaLnBrk="0" fontAlgn="base" hangingPunct="0"/>
            <a:r>
              <a:rPr kumimoji="1" lang="zh-CN" altLang="en-US" dirty="0"/>
              <a:t>数据分析能力正在成为职场的必备技能</a:t>
            </a:r>
            <a:endParaRPr lang="zh-CN" altLang="zh-CN" dirty="0">
              <a:effectLst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83815" y="2479084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金融保险业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90216" y="3123639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健康和</a:t>
            </a:r>
            <a:endParaRPr kumimoji="1" lang="en-US" altLang="zh-CN" sz="1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会救助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658" y="3755479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息产业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658" y="4404946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造业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10561" y="5052159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专业科学</a:t>
            </a:r>
            <a:endParaRPr kumimoji="1" lang="en-US" altLang="zh-CN" sz="1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服务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110560" y="5663813"/>
            <a:ext cx="926524" cy="2807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零售业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线连接符 7"/>
          <p:cNvCxnSpPr/>
          <p:nvPr/>
        </p:nvCxnSpPr>
        <p:spPr>
          <a:xfrm>
            <a:off x="3390191" y="2623189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椭圆 5"/>
          <p:cNvSpPr/>
          <p:nvPr/>
        </p:nvSpPr>
        <p:spPr>
          <a:xfrm>
            <a:off x="3619031" y="2504996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1" name="椭圆 10"/>
          <p:cNvSpPr/>
          <p:nvPr/>
        </p:nvSpPr>
        <p:spPr>
          <a:xfrm>
            <a:off x="4318241" y="2407449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2" name="文本框 11"/>
          <p:cNvSpPr txBox="1"/>
          <p:nvPr/>
        </p:nvSpPr>
        <p:spPr>
          <a:xfrm>
            <a:off x="4533982" y="4549052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3229615" y="1469643"/>
            <a:ext cx="1938871" cy="27594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赋能类岗位</a:t>
            </a:r>
            <a:endParaRPr kumimoji="1" lang="zh-CN" altLang="en-US" b="1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4" name="直线连接符 33"/>
          <p:cNvCxnSpPr/>
          <p:nvPr/>
        </p:nvCxnSpPr>
        <p:spPr>
          <a:xfrm>
            <a:off x="3305095" y="1829989"/>
            <a:ext cx="1787911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3375282" y="1849762"/>
            <a:ext cx="727715" cy="4314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驱动决策者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4170123" y="1849762"/>
            <a:ext cx="727715" cy="4314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商业</a:t>
            </a:r>
            <a:endParaRPr kumimoji="1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析师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2" name="直线连接符 71"/>
          <p:cNvCxnSpPr/>
          <p:nvPr/>
        </p:nvCxnSpPr>
        <p:spPr>
          <a:xfrm>
            <a:off x="3390191" y="3267745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椭圆 72"/>
          <p:cNvSpPr/>
          <p:nvPr/>
        </p:nvSpPr>
        <p:spPr>
          <a:xfrm>
            <a:off x="3619031" y="3149551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74" name="椭圆 73"/>
          <p:cNvSpPr/>
          <p:nvPr/>
        </p:nvSpPr>
        <p:spPr>
          <a:xfrm>
            <a:off x="4318241" y="3052004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cxnSp>
        <p:nvCxnSpPr>
          <p:cNvPr id="79" name="直线连接符 78"/>
          <p:cNvCxnSpPr/>
          <p:nvPr/>
        </p:nvCxnSpPr>
        <p:spPr>
          <a:xfrm>
            <a:off x="3390191" y="3899584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椭圆 79"/>
          <p:cNvSpPr/>
          <p:nvPr/>
        </p:nvSpPr>
        <p:spPr>
          <a:xfrm>
            <a:off x="4415788" y="3781391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81" name="椭圆 80"/>
          <p:cNvSpPr/>
          <p:nvPr/>
        </p:nvSpPr>
        <p:spPr>
          <a:xfrm>
            <a:off x="3521484" y="3683844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cxnSp>
        <p:nvCxnSpPr>
          <p:cNvPr id="86" name="直线连接符 85"/>
          <p:cNvCxnSpPr/>
          <p:nvPr/>
        </p:nvCxnSpPr>
        <p:spPr>
          <a:xfrm>
            <a:off x="3390191" y="4549052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椭圆 86"/>
          <p:cNvSpPr/>
          <p:nvPr/>
        </p:nvSpPr>
        <p:spPr>
          <a:xfrm>
            <a:off x="4415788" y="4430858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88" name="椭圆 87"/>
          <p:cNvSpPr/>
          <p:nvPr/>
        </p:nvSpPr>
        <p:spPr>
          <a:xfrm>
            <a:off x="3521484" y="4333312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cxnSp>
        <p:nvCxnSpPr>
          <p:cNvPr id="93" name="直线连接符 92"/>
          <p:cNvCxnSpPr/>
          <p:nvPr/>
        </p:nvCxnSpPr>
        <p:spPr>
          <a:xfrm>
            <a:off x="3390191" y="5196265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椭圆 93"/>
          <p:cNvSpPr/>
          <p:nvPr/>
        </p:nvSpPr>
        <p:spPr>
          <a:xfrm>
            <a:off x="3619031" y="5078071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cxnSp>
        <p:nvCxnSpPr>
          <p:cNvPr id="100" name="直线连接符 99"/>
          <p:cNvCxnSpPr/>
          <p:nvPr/>
        </p:nvCxnSpPr>
        <p:spPr>
          <a:xfrm>
            <a:off x="3390191" y="5807919"/>
            <a:ext cx="1690389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椭圆 100"/>
          <p:cNvSpPr/>
          <p:nvPr/>
        </p:nvSpPr>
        <p:spPr>
          <a:xfrm>
            <a:off x="4415788" y="5078071"/>
            <a:ext cx="236388" cy="2363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02" name="椭圆 101"/>
          <p:cNvSpPr/>
          <p:nvPr/>
        </p:nvSpPr>
        <p:spPr>
          <a:xfrm>
            <a:off x="4318241" y="5592178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95" name="椭圆 94"/>
          <p:cNvSpPr/>
          <p:nvPr/>
        </p:nvSpPr>
        <p:spPr>
          <a:xfrm>
            <a:off x="3521484" y="5592178"/>
            <a:ext cx="431482" cy="4314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22" name="文本框 121"/>
          <p:cNvSpPr txBox="1"/>
          <p:nvPr/>
        </p:nvSpPr>
        <p:spPr>
          <a:xfrm>
            <a:off x="3508444" y="2837152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6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文本框 122"/>
          <p:cNvSpPr txBox="1"/>
          <p:nvPr/>
        </p:nvSpPr>
        <p:spPr>
          <a:xfrm>
            <a:off x="4305201" y="2837152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1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3508444" y="346958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文本框 127"/>
          <p:cNvSpPr txBox="1"/>
          <p:nvPr/>
        </p:nvSpPr>
        <p:spPr>
          <a:xfrm>
            <a:off x="4305201" y="346958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4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3508444" y="4113941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3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文本框 132"/>
          <p:cNvSpPr txBox="1"/>
          <p:nvPr/>
        </p:nvSpPr>
        <p:spPr>
          <a:xfrm>
            <a:off x="4305201" y="4113941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3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3508444" y="481971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4305201" y="481971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2" name="文本框 141"/>
          <p:cNvSpPr txBox="1"/>
          <p:nvPr/>
        </p:nvSpPr>
        <p:spPr>
          <a:xfrm>
            <a:off x="3508444" y="5357037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4305201" y="5357037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9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3508444" y="6026825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6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305201" y="6026825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2283175" y="1849762"/>
            <a:ext cx="957942" cy="4314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科学家</a:t>
            </a:r>
            <a:endParaRPr kumimoji="1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级分析师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直线连接符 12"/>
          <p:cNvCxnSpPr/>
          <p:nvPr/>
        </p:nvCxnSpPr>
        <p:spPr>
          <a:xfrm>
            <a:off x="954116" y="2619469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椭圆 13"/>
          <p:cNvSpPr/>
          <p:nvPr/>
        </p:nvSpPr>
        <p:spPr>
          <a:xfrm>
            <a:off x="2060824" y="2525844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5" name="椭圆 14"/>
          <p:cNvSpPr/>
          <p:nvPr/>
        </p:nvSpPr>
        <p:spPr>
          <a:xfrm>
            <a:off x="1268769" y="2478879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18" name="椭圆 17"/>
          <p:cNvSpPr>
            <a:spLocks noChangeAspect="1"/>
          </p:cNvSpPr>
          <p:nvPr/>
        </p:nvSpPr>
        <p:spPr>
          <a:xfrm>
            <a:off x="2745153" y="2558174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33" name="文本框 32"/>
          <p:cNvSpPr txBox="1"/>
          <p:nvPr/>
        </p:nvSpPr>
        <p:spPr>
          <a:xfrm>
            <a:off x="998706" y="1469643"/>
            <a:ext cx="2042241" cy="23604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纯数据类岗位</a:t>
            </a:r>
            <a:endParaRPr kumimoji="1"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5" name="直线连接符 34"/>
          <p:cNvCxnSpPr/>
          <p:nvPr/>
        </p:nvCxnSpPr>
        <p:spPr>
          <a:xfrm>
            <a:off x="954116" y="1829989"/>
            <a:ext cx="2177732" cy="0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/>
          <p:cNvSpPr txBox="1"/>
          <p:nvPr/>
        </p:nvSpPr>
        <p:spPr>
          <a:xfrm>
            <a:off x="990846" y="1849762"/>
            <a:ext cx="727715" cy="4314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endParaRPr kumimoji="1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师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1718561" y="1849762"/>
            <a:ext cx="727715" cy="4314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endParaRPr kumimoji="1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析师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5" name="直线连接符 74"/>
          <p:cNvCxnSpPr/>
          <p:nvPr/>
        </p:nvCxnSpPr>
        <p:spPr>
          <a:xfrm>
            <a:off x="954116" y="3264024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椭圆 75"/>
          <p:cNvSpPr/>
          <p:nvPr/>
        </p:nvSpPr>
        <p:spPr>
          <a:xfrm>
            <a:off x="2060824" y="3170399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77" name="椭圆 76"/>
          <p:cNvSpPr/>
          <p:nvPr/>
        </p:nvSpPr>
        <p:spPr>
          <a:xfrm>
            <a:off x="1268769" y="3123434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78" name="椭圆 77"/>
          <p:cNvSpPr>
            <a:spLocks noChangeAspect="1"/>
          </p:cNvSpPr>
          <p:nvPr/>
        </p:nvSpPr>
        <p:spPr>
          <a:xfrm>
            <a:off x="2745153" y="3202730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cxnSp>
        <p:nvCxnSpPr>
          <p:cNvPr id="82" name="直线连接符 81"/>
          <p:cNvCxnSpPr/>
          <p:nvPr/>
        </p:nvCxnSpPr>
        <p:spPr>
          <a:xfrm>
            <a:off x="954116" y="3895864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椭圆 82"/>
          <p:cNvSpPr/>
          <p:nvPr/>
        </p:nvSpPr>
        <p:spPr>
          <a:xfrm>
            <a:off x="2060824" y="3802239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84" name="椭圆 83"/>
          <p:cNvSpPr/>
          <p:nvPr/>
        </p:nvSpPr>
        <p:spPr>
          <a:xfrm>
            <a:off x="1268769" y="3755274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85" name="椭圆 84"/>
          <p:cNvSpPr>
            <a:spLocks noChangeAspect="1"/>
          </p:cNvSpPr>
          <p:nvPr/>
        </p:nvSpPr>
        <p:spPr>
          <a:xfrm>
            <a:off x="2745153" y="3834569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cxnSp>
        <p:nvCxnSpPr>
          <p:cNvPr id="89" name="直线连接符 88"/>
          <p:cNvCxnSpPr/>
          <p:nvPr/>
        </p:nvCxnSpPr>
        <p:spPr>
          <a:xfrm>
            <a:off x="954116" y="4545332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椭圆 89"/>
          <p:cNvSpPr/>
          <p:nvPr/>
        </p:nvSpPr>
        <p:spPr>
          <a:xfrm>
            <a:off x="2060824" y="4451707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91" name="椭圆 90"/>
          <p:cNvSpPr/>
          <p:nvPr/>
        </p:nvSpPr>
        <p:spPr>
          <a:xfrm>
            <a:off x="1268769" y="4404741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92" name="椭圆 91"/>
          <p:cNvSpPr>
            <a:spLocks noChangeAspect="1"/>
          </p:cNvSpPr>
          <p:nvPr/>
        </p:nvSpPr>
        <p:spPr>
          <a:xfrm>
            <a:off x="2745153" y="4484037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cxnSp>
        <p:nvCxnSpPr>
          <p:cNvPr id="96" name="直线连接符 95"/>
          <p:cNvCxnSpPr/>
          <p:nvPr/>
        </p:nvCxnSpPr>
        <p:spPr>
          <a:xfrm>
            <a:off x="954116" y="5192545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椭圆 96"/>
          <p:cNvSpPr/>
          <p:nvPr/>
        </p:nvSpPr>
        <p:spPr>
          <a:xfrm>
            <a:off x="2060824" y="5098920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98" name="椭圆 97"/>
          <p:cNvSpPr/>
          <p:nvPr/>
        </p:nvSpPr>
        <p:spPr>
          <a:xfrm>
            <a:off x="1268769" y="5051954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99" name="椭圆 98"/>
          <p:cNvSpPr>
            <a:spLocks noChangeAspect="1"/>
          </p:cNvSpPr>
          <p:nvPr/>
        </p:nvSpPr>
        <p:spPr>
          <a:xfrm>
            <a:off x="2745153" y="5131250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cxnSp>
        <p:nvCxnSpPr>
          <p:cNvPr id="103" name="直线连接符 102"/>
          <p:cNvCxnSpPr/>
          <p:nvPr/>
        </p:nvCxnSpPr>
        <p:spPr>
          <a:xfrm>
            <a:off x="954116" y="5804198"/>
            <a:ext cx="2178001" cy="7442"/>
          </a:xfrm>
          <a:prstGeom prst="line">
            <a:avLst/>
          </a:prstGeom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椭圆 103"/>
          <p:cNvSpPr/>
          <p:nvPr/>
        </p:nvSpPr>
        <p:spPr>
          <a:xfrm>
            <a:off x="2060824" y="5710573"/>
            <a:ext cx="194692" cy="19469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/>
          </a:p>
        </p:txBody>
      </p:sp>
      <p:sp>
        <p:nvSpPr>
          <p:cNvPr id="105" name="椭圆 104"/>
          <p:cNvSpPr/>
          <p:nvPr/>
        </p:nvSpPr>
        <p:spPr>
          <a:xfrm>
            <a:off x="1268769" y="5663608"/>
            <a:ext cx="288621" cy="28862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106" name="椭圆 105"/>
          <p:cNvSpPr>
            <a:spLocks noChangeAspect="1"/>
          </p:cNvSpPr>
          <p:nvPr/>
        </p:nvSpPr>
        <p:spPr>
          <a:xfrm>
            <a:off x="2745153" y="5742904"/>
            <a:ext cx="130030" cy="13003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1000" dirty="0"/>
          </a:p>
        </p:txBody>
      </p:sp>
      <p:sp>
        <p:nvSpPr>
          <p:cNvPr id="124" name="文本框 123"/>
          <p:cNvSpPr txBox="1"/>
          <p:nvPr/>
        </p:nvSpPr>
        <p:spPr>
          <a:xfrm>
            <a:off x="1184299" y="2837152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文本框 124"/>
          <p:cNvSpPr txBox="1"/>
          <p:nvPr/>
        </p:nvSpPr>
        <p:spPr>
          <a:xfrm>
            <a:off x="1929389" y="2837152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文本框 125"/>
          <p:cNvSpPr txBox="1"/>
          <p:nvPr/>
        </p:nvSpPr>
        <p:spPr>
          <a:xfrm>
            <a:off x="2581387" y="2837152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1184299" y="346958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文本框 129"/>
          <p:cNvSpPr txBox="1"/>
          <p:nvPr/>
        </p:nvSpPr>
        <p:spPr>
          <a:xfrm>
            <a:off x="1929389" y="346958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文本框 130"/>
          <p:cNvSpPr txBox="1"/>
          <p:nvPr/>
        </p:nvSpPr>
        <p:spPr>
          <a:xfrm>
            <a:off x="2581387" y="346958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1184299" y="4113941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6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5" name="文本框 134"/>
          <p:cNvSpPr txBox="1"/>
          <p:nvPr/>
        </p:nvSpPr>
        <p:spPr>
          <a:xfrm>
            <a:off x="1929389" y="4113941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6" name="文本框 135"/>
          <p:cNvSpPr txBox="1"/>
          <p:nvPr/>
        </p:nvSpPr>
        <p:spPr>
          <a:xfrm>
            <a:off x="2581387" y="4113941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1184299" y="481971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3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文本框 139"/>
          <p:cNvSpPr txBox="1"/>
          <p:nvPr/>
        </p:nvSpPr>
        <p:spPr>
          <a:xfrm>
            <a:off x="1929389" y="481971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1" name="文本框 140"/>
          <p:cNvSpPr txBox="1"/>
          <p:nvPr/>
        </p:nvSpPr>
        <p:spPr>
          <a:xfrm>
            <a:off x="2581387" y="4819714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4" name="文本框 143"/>
          <p:cNvSpPr txBox="1"/>
          <p:nvPr/>
        </p:nvSpPr>
        <p:spPr>
          <a:xfrm>
            <a:off x="1184299" y="5357037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1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5" name="文本框 144"/>
          <p:cNvSpPr txBox="1"/>
          <p:nvPr/>
        </p:nvSpPr>
        <p:spPr>
          <a:xfrm>
            <a:off x="1929389" y="5357037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6" name="文本框 145"/>
          <p:cNvSpPr txBox="1"/>
          <p:nvPr/>
        </p:nvSpPr>
        <p:spPr>
          <a:xfrm>
            <a:off x="2581387" y="5357037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9" name="文本框 148"/>
          <p:cNvSpPr txBox="1"/>
          <p:nvPr/>
        </p:nvSpPr>
        <p:spPr>
          <a:xfrm>
            <a:off x="1184299" y="6026825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0" name="文本框 149"/>
          <p:cNvSpPr txBox="1"/>
          <p:nvPr/>
        </p:nvSpPr>
        <p:spPr>
          <a:xfrm>
            <a:off x="1929389" y="6026825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1" name="文本框 150"/>
          <p:cNvSpPr txBox="1"/>
          <p:nvPr/>
        </p:nvSpPr>
        <p:spPr>
          <a:xfrm>
            <a:off x="2581387" y="6026825"/>
            <a:ext cx="457561" cy="2662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endParaRPr kumimoji="1"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8" name="矩形 157"/>
          <p:cNvSpPr/>
          <p:nvPr/>
        </p:nvSpPr>
        <p:spPr>
          <a:xfrm>
            <a:off x="5168486" y="5964065"/>
            <a:ext cx="38186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数据科学研究院发布的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人才及</a:t>
            </a:r>
            <a:r>
              <a:rPr lang="en-GB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A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证人行业报告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纯数据岗位：数据维护、数据工程师、大数据工程师等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数据赋能岗位：财务分析、行业研究、产品经理、运营分析等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AutoNum type="arabicPeriod"/>
            </a:pP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" name="标题 2"/>
          <p:cNvSpPr txBox="1"/>
          <p:nvPr/>
        </p:nvSpPr>
        <p:spPr>
          <a:xfrm>
            <a:off x="786955" y="959926"/>
            <a:ext cx="4139381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数据赋能类岗位已成主力</a:t>
            </a:r>
            <a:r>
              <a:rPr kumimoji="1"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4" name="标题 2"/>
          <p:cNvSpPr txBox="1"/>
          <p:nvPr/>
        </p:nvSpPr>
        <p:spPr>
          <a:xfrm>
            <a:off x="5721780" y="963001"/>
            <a:ext cx="4031820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71500" algn="l"/>
              </a:tabLs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数据赋能类岗位占比在提升</a:t>
            </a:r>
            <a:r>
              <a:rPr kumimoji="1"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2]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5" name="图片 16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133257" y="935091"/>
            <a:ext cx="588523" cy="390917"/>
          </a:xfrm>
          <a:prstGeom prst="rect">
            <a:avLst/>
          </a:prstGeom>
        </p:spPr>
      </p:pic>
      <p:pic>
        <p:nvPicPr>
          <p:cNvPr id="166" name="图片 16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1033" y="970295"/>
            <a:ext cx="525922" cy="280492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/>
          <p:cNvSpPr/>
          <p:nvPr/>
        </p:nvSpPr>
        <p:spPr bwMode="auto">
          <a:xfrm>
            <a:off x="5603735" y="1766667"/>
            <a:ext cx="4077475" cy="42295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cxnSp>
        <p:nvCxnSpPr>
          <p:cNvPr id="32" name="直接连接符 22"/>
          <p:cNvCxnSpPr/>
          <p:nvPr/>
        </p:nvCxnSpPr>
        <p:spPr bwMode="auto">
          <a:xfrm flipV="1">
            <a:off x="4834717" y="1766667"/>
            <a:ext cx="769018" cy="10688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直接连接符 27"/>
          <p:cNvCxnSpPr/>
          <p:nvPr/>
        </p:nvCxnSpPr>
        <p:spPr bwMode="auto">
          <a:xfrm>
            <a:off x="4823739" y="3897504"/>
            <a:ext cx="779997" cy="208053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eaLnBrk="0" fontAlgn="base" hangingPunct="0"/>
            <a:r>
              <a:rPr kumimoji="1" lang="en-US" altLang="zh-CN" dirty="0"/>
              <a:t>……</a:t>
            </a:r>
            <a:r>
              <a:rPr kumimoji="1" lang="zh-CN" altLang="zh-CN" dirty="0"/>
              <a:t>人才</a:t>
            </a:r>
            <a:r>
              <a:rPr kumimoji="1" lang="zh-CN" altLang="en-US" dirty="0"/>
              <a:t>需求也在呈现井喷式增长</a:t>
            </a:r>
            <a:endParaRPr lang="zh-CN" altLang="zh-CN" dirty="0">
              <a:effectLst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492922" y="1398138"/>
            <a:ext cx="664143" cy="393673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33091" y="2843283"/>
            <a:ext cx="1118572" cy="125100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 </a:t>
            </a:r>
            <a:endParaRPr lang="zh-CN" altLang="en-US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7872" y="5417822"/>
            <a:ext cx="1474241" cy="5232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职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群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2326259" y="2115504"/>
            <a:ext cx="664143" cy="2502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48044" y="4814253"/>
            <a:ext cx="1833338" cy="5232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类工作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关人群</a:t>
            </a:r>
            <a:r>
              <a:rPr lang="en-US" altLang="zh-CN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endParaRPr lang="zh-CN" altLang="en-US" b="1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4170574" y="2835504"/>
            <a:ext cx="664143" cy="1062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t" anchorCtr="0" compatLnSpc="1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3300855" y="4094285"/>
            <a:ext cx="2118459" cy="5232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年内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纯数据人才需求</a:t>
            </a:r>
            <a:r>
              <a:rPr lang="en-US" altLang="zh-CN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2]</a:t>
            </a:r>
            <a:endParaRPr lang="zh-CN" altLang="en-US" b="1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099045" y="2979281"/>
            <a:ext cx="1118572" cy="792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8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943359" y="3104894"/>
            <a:ext cx="1118572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0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buSzPct val="25000"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梯形 13"/>
          <p:cNvSpPr/>
          <p:nvPr/>
        </p:nvSpPr>
        <p:spPr bwMode="auto">
          <a:xfrm rot="5400000">
            <a:off x="-215615" y="2783583"/>
            <a:ext cx="3927318" cy="1156429"/>
          </a:xfrm>
          <a:prstGeom prst="trapezoid">
            <a:avLst>
              <a:gd name="adj" fmla="val 6412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5" name="梯形 14"/>
          <p:cNvSpPr/>
          <p:nvPr/>
        </p:nvSpPr>
        <p:spPr bwMode="auto">
          <a:xfrm rot="5400000">
            <a:off x="2323999" y="2788291"/>
            <a:ext cx="2502000" cy="1156429"/>
          </a:xfrm>
          <a:prstGeom prst="trapezoid">
            <a:avLst>
              <a:gd name="adj" fmla="val 61623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graphicFrame>
        <p:nvGraphicFramePr>
          <p:cNvPr id="19" name="图表 18"/>
          <p:cNvGraphicFramePr/>
          <p:nvPr/>
        </p:nvGraphicFramePr>
        <p:xfrm>
          <a:off x="5603735" y="1712814"/>
          <a:ext cx="4069173" cy="422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0" name="矩形 19"/>
          <p:cNvSpPr/>
          <p:nvPr/>
        </p:nvSpPr>
        <p:spPr>
          <a:xfrm>
            <a:off x="5603736" y="6147344"/>
            <a:ext cx="40038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人社部中国就业培训技术指导中心联合阿里巴巴钉钉发布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职业在线学习平台发展报告</a:t>
            </a:r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8685812" y="5305926"/>
            <a:ext cx="952767" cy="2977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位：万人</a:t>
            </a:r>
            <a:endParaRPr lang="zh-CN" altLang="en-US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5603736" y="1182319"/>
            <a:ext cx="4077474" cy="5300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defTabSz="914400" eaLnBrk="1" latinLnBrk="0" hangingPunct="1">
              <a:buSzPct val="25000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</a:defRPr>
            </a:lvl5pPr>
            <a:lvl6pPr>
              <a:defRPr sz="1800">
                <a:solidFill>
                  <a:schemeClr val="tx1"/>
                </a:solidFill>
              </a:defRPr>
            </a:lvl6pPr>
            <a:lvl7pPr>
              <a:defRPr sz="1800">
                <a:solidFill>
                  <a:schemeClr val="tx1"/>
                </a:solidFill>
              </a:defRPr>
            </a:lvl7pPr>
            <a:lvl8pPr>
              <a:defRPr sz="1800">
                <a:solidFill>
                  <a:schemeClr val="tx1"/>
                </a:solidFill>
              </a:defRPr>
            </a:lvl8pPr>
            <a:lvl9pPr>
              <a:defRPr sz="18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b="1" dirty="0">
                <a:solidFill>
                  <a:schemeClr val="bg1"/>
                </a:solidFill>
              </a:rPr>
              <a:t>其中数据类人才需求状况</a:t>
            </a:r>
            <a:r>
              <a:rPr lang="en-US" altLang="zh-CN" sz="2000" b="1" baseline="30000" dirty="0">
                <a:solidFill>
                  <a:schemeClr val="bg1"/>
                </a:solidFill>
              </a:rPr>
              <a:t>[3]</a:t>
            </a:r>
            <a:endParaRPr lang="zh-CN" altLang="en-US" sz="2000" b="1" baseline="30000" dirty="0">
              <a:solidFill>
                <a:schemeClr val="bg1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29101" y="6147344"/>
            <a:ext cx="499021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endParaRPr lang="en-US" altLang="zh-CN" sz="9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9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职人群中，</a:t>
            </a:r>
            <a:r>
              <a:rPr lang="en-GB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、财会金融、市场营销、管理等领域与数据科学相关性高 ，占比约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研咨询发布的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2019-2025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中国职业教育行业市场现状分析及投资前景预测报告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9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高校现状</a:t>
            </a:r>
            <a:endParaRPr kumimoji="1" lang="zh-CN" altLang="en-US" dirty="0">
              <a:solidFill>
                <a:schemeClr val="tx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681355" y="2411095"/>
            <a:ext cx="8543925" cy="312420"/>
          </a:xfrm>
        </p:spPr>
        <p:txBody>
          <a:bodyPr wrap="square"/>
          <a:lstStyle/>
          <a:p>
            <a:r>
              <a:rPr lang="zh-CN" altLang="en-US" dirty="0">
                <a:solidFill>
                  <a:schemeClr val="tx2"/>
                </a:solidFill>
              </a:rPr>
              <a:t>教育部多次强调，传统专业亟需数据赋能，增强学生用数据思考、分析、解决实际问题等能力</a:t>
            </a:r>
            <a:endParaRPr lang="zh-CN" alt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0D7AC-B17B-DE44-BC30-AE18A94B117A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42015" y="136523"/>
            <a:ext cx="8327547" cy="480131"/>
          </a:xfrm>
        </p:spPr>
        <p:txBody>
          <a:bodyPr/>
          <a:lstStyle/>
          <a:p>
            <a:r>
              <a:rPr kumimoji="1" lang="zh-CN" altLang="en-US" dirty="0"/>
              <a:t>直面时代浪潮冲击，传统专业面临数据化挑战</a:t>
            </a:r>
            <a:endParaRPr kumimoji="1" lang="zh-CN" altLang="en-US" dirty="0"/>
          </a:p>
        </p:txBody>
      </p:sp>
      <p:sp>
        <p:nvSpPr>
          <p:cNvPr id="49" name="文本框 48"/>
          <p:cNvSpPr txBox="1"/>
          <p:nvPr/>
        </p:nvSpPr>
        <p:spPr>
          <a:xfrm>
            <a:off x="342014" y="1108103"/>
            <a:ext cx="4683355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ct val="25000"/>
            </a:pPr>
            <a:endParaRPr lang="zh-CN" altLang="en-US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072743" y="6498771"/>
            <a:ext cx="0" cy="0"/>
          </a:xfrm>
          <a:prstGeom prst="rect">
            <a:avLst/>
          </a:prstGeom>
          <a:solidFill>
            <a:schemeClr val="tx2"/>
          </a:solidFill>
        </p:spPr>
        <p:txBody>
          <a:bodyPr wrap="none" rtlCol="0" anchor="ctr">
            <a:noAutofit/>
          </a:bodyPr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2"/>
          <p:cNvSpPr txBox="1"/>
          <p:nvPr/>
        </p:nvSpPr>
        <p:spPr>
          <a:xfrm>
            <a:off x="360725" y="1014790"/>
            <a:ext cx="9109199" cy="104902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2400" dirty="0"/>
              <a:t>管理学经典教材，仍以定性分析为主</a:t>
            </a:r>
            <a:endParaRPr kumimoji="1" lang="en-US" altLang="zh-CN" sz="2400" dirty="0"/>
          </a:p>
          <a:p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以罗宾斯的《管理学》教材为例，这本书被诸多高校奉为管理学经典，一届届学生都听着老师讲这本书的内容，再走上工作岗位。而纵览全书</a:t>
            </a:r>
            <a:r>
              <a:rPr kumimoji="1" lang="en-US" altLang="zh-CN" sz="1800" b="0" dirty="0">
                <a:solidFill>
                  <a:srgbClr val="000000"/>
                </a:solidFill>
                <a:cs typeface="+mn-cs"/>
              </a:rPr>
              <a:t>20</a:t>
            </a:r>
            <a:r>
              <a:rPr kumimoji="1" lang="zh-CN" altLang="en-US" sz="1800" b="0" dirty="0">
                <a:solidFill>
                  <a:srgbClr val="000000"/>
                </a:solidFill>
                <a:cs typeface="+mn-cs"/>
              </a:rPr>
              <a:t>章，竟无一章提到数据化管理。</a:t>
            </a:r>
            <a:endParaRPr kumimoji="1" lang="zh-CN" altLang="en-US" sz="2000" dirty="0"/>
          </a:p>
        </p:txBody>
      </p:sp>
      <p:pic>
        <p:nvPicPr>
          <p:cNvPr id="3074" name="Picture 2" descr="经典教材解读】《管理学》罗宾斯（第9版）_参考书目_考研帮（kaoyan.com）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360725" y="2159673"/>
            <a:ext cx="3016250" cy="4261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文本占位符 2"/>
          <p:cNvSpPr txBox="1"/>
          <p:nvPr/>
        </p:nvSpPr>
        <p:spPr>
          <a:xfrm>
            <a:off x="3952489" y="2191366"/>
            <a:ext cx="3154973" cy="340093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</a:t>
            </a:r>
            <a:r>
              <a:rPr lang="zh-CN" altLang="en-US" sz="1400" b="0" dirty="0"/>
              <a:t>章 管理与组织导论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2</a:t>
            </a:r>
            <a:r>
              <a:rPr lang="zh-CN" altLang="en-US" sz="1400" b="0" dirty="0"/>
              <a:t>章 管理的昨天和今天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3</a:t>
            </a:r>
            <a:r>
              <a:rPr lang="zh-CN" altLang="en-US" sz="1400" b="0" dirty="0"/>
              <a:t>章 组织文化与环境：约束力量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4</a:t>
            </a:r>
            <a:r>
              <a:rPr lang="zh-CN" altLang="en-US" sz="1400" b="0" dirty="0"/>
              <a:t>章 全球环境中的管理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5</a:t>
            </a:r>
            <a:r>
              <a:rPr lang="zh-CN" altLang="en-US" sz="1400" b="0" dirty="0"/>
              <a:t>章 人员配备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6</a:t>
            </a:r>
            <a:r>
              <a:rPr lang="zh-CN" altLang="en-US" sz="1400" b="0" dirty="0"/>
              <a:t>章 制定决策：管理者工作的本质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7</a:t>
            </a:r>
            <a:r>
              <a:rPr lang="zh-CN" altLang="en-US" sz="1400" b="0" dirty="0"/>
              <a:t>章 计划的基础</a:t>
            </a:r>
            <a:endParaRPr lang="en-US" altLang="zh-C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8</a:t>
            </a:r>
            <a:r>
              <a:rPr lang="zh-CN" altLang="en-US" sz="1400" b="0" dirty="0"/>
              <a:t>章 战略管理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9</a:t>
            </a:r>
            <a:r>
              <a:rPr lang="zh-CN" altLang="en-US" sz="1400" b="0" dirty="0"/>
              <a:t>章 计划工作的工具和技术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0</a:t>
            </a:r>
            <a:r>
              <a:rPr lang="zh-CN" altLang="en-US" sz="1400" b="0" dirty="0"/>
              <a:t>章 组织结构与设计</a:t>
            </a:r>
            <a:endParaRPr lang="en-US" altLang="zh-CN" sz="1400" b="0" dirty="0"/>
          </a:p>
        </p:txBody>
      </p:sp>
      <p:sp>
        <p:nvSpPr>
          <p:cNvPr id="12" name="文本占位符 2"/>
          <p:cNvSpPr txBox="1"/>
          <p:nvPr/>
        </p:nvSpPr>
        <p:spPr>
          <a:xfrm>
            <a:off x="7094762" y="2191366"/>
            <a:ext cx="3149600" cy="340093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1</a:t>
            </a:r>
            <a:r>
              <a:rPr lang="zh-CN" altLang="en-US" sz="1400" b="0" dirty="0"/>
              <a:t>章 管理沟通与信息技术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2</a:t>
            </a:r>
            <a:r>
              <a:rPr lang="zh-CN" altLang="en-US" sz="1400" b="0" dirty="0"/>
              <a:t>章 人力资源管理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3</a:t>
            </a:r>
            <a:r>
              <a:rPr lang="zh-CN" altLang="en-US" sz="1400" b="0" dirty="0"/>
              <a:t>章 变革与创新管理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4</a:t>
            </a:r>
            <a:r>
              <a:rPr lang="zh-CN" altLang="en-US" sz="1400" b="0" dirty="0"/>
              <a:t>章 行为的基础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5</a:t>
            </a:r>
            <a:r>
              <a:rPr lang="zh-CN" altLang="en-US" sz="1400" b="0" dirty="0"/>
              <a:t>章 理解群体与团队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6</a:t>
            </a:r>
            <a:r>
              <a:rPr lang="zh-CN" altLang="en-US" sz="1400" b="0" dirty="0"/>
              <a:t>章 激励员工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7</a:t>
            </a:r>
            <a:r>
              <a:rPr lang="zh-CN" altLang="en-US" sz="1400" b="0" dirty="0"/>
              <a:t>章 领导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8</a:t>
            </a:r>
            <a:r>
              <a:rPr lang="zh-CN" altLang="en-US" sz="1400" b="0" dirty="0"/>
              <a:t>章 控制的基础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19</a:t>
            </a:r>
            <a:r>
              <a:rPr lang="zh-CN" altLang="en-US" sz="1400" b="0" dirty="0"/>
              <a:t>章 作业及价值链管理</a:t>
            </a:r>
            <a:endParaRPr lang="en-US" altLang="zh-CN" sz="14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400" b="0" dirty="0"/>
              <a:t>20</a:t>
            </a:r>
            <a:r>
              <a:rPr lang="zh-CN" altLang="en-US" sz="1400" b="0" dirty="0"/>
              <a:t>章 控制组织绩效</a:t>
            </a:r>
            <a:endParaRPr kumimoji="1" lang="zh-CN" altLang="en-US" sz="1400" dirty="0"/>
          </a:p>
        </p:txBody>
      </p:sp>
      <p:sp>
        <p:nvSpPr>
          <p:cNvPr id="4" name="矩形 3"/>
          <p:cNvSpPr/>
          <p:nvPr/>
        </p:nvSpPr>
        <p:spPr>
          <a:xfrm>
            <a:off x="3944326" y="2164782"/>
            <a:ext cx="5694973" cy="3427515"/>
          </a:xfrm>
          <a:prstGeom prst="rect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文本占位符 2"/>
          <p:cNvSpPr txBox="1"/>
          <p:nvPr/>
        </p:nvSpPr>
        <p:spPr>
          <a:xfrm>
            <a:off x="3944326" y="6003218"/>
            <a:ext cx="5694973" cy="42473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28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b="1" kern="1200" smtClean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00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sz="2400" dirty="0"/>
              <a:t>当下的管理，能与数据无关吗？</a:t>
            </a:r>
            <a:endParaRPr kumimoji="1" lang="en-US" altLang="zh-CN" sz="2400" dirty="0"/>
          </a:p>
        </p:txBody>
      </p:sp>
      <p:sp>
        <p:nvSpPr>
          <p:cNvPr id="14" name="等腰三角形 22"/>
          <p:cNvSpPr/>
          <p:nvPr/>
        </p:nvSpPr>
        <p:spPr bwMode="auto">
          <a:xfrm rot="5400000">
            <a:off x="2499705" y="3804967"/>
            <a:ext cx="2359602" cy="147145"/>
          </a:xfrm>
          <a:prstGeom prst="triangle">
            <a:avLst/>
          </a:prstGeom>
          <a:solidFill>
            <a:schemeClr val="bg2">
              <a:lumMod val="20000"/>
              <a:lumOff val="80000"/>
              <a:alpha val="35294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no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300" b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1" y="2122772"/>
            <a:ext cx="3339232" cy="445607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KSO_WM_UNIT_TABLE_BEAUTIFY" val="smartTable{1c7c84b3-2c4f-4740-ba53-847aecfac823}"/>
</p:tagLst>
</file>

<file path=ppt/theme/theme1.xml><?xml version="1.0" encoding="utf-8"?>
<a:theme xmlns:a="http://schemas.openxmlformats.org/drawingml/2006/main" name="Office 主题​​">
  <a:themeElements>
    <a:clrScheme name="自定义 5">
      <a:dk1>
        <a:srgbClr val="000000"/>
      </a:dk1>
      <a:lt1>
        <a:srgbClr val="FFFFFF"/>
      </a:lt1>
      <a:dk2>
        <a:srgbClr val="37697F"/>
      </a:dk2>
      <a:lt2>
        <a:srgbClr val="404140"/>
      </a:lt2>
      <a:accent1>
        <a:srgbClr val="FEFFFF"/>
      </a:accent1>
      <a:accent2>
        <a:srgbClr val="FEFFFF"/>
      </a:accent2>
      <a:accent3>
        <a:srgbClr val="FEFFFF"/>
      </a:accent3>
      <a:accent4>
        <a:srgbClr val="FEFFFF"/>
      </a:accent4>
      <a:accent5>
        <a:srgbClr val="FEFFFF"/>
      </a:accent5>
      <a:accent6>
        <a:srgbClr val="FEFFFF"/>
      </a:accent6>
      <a:hlink>
        <a:srgbClr val="FEFFFF"/>
      </a:hlink>
      <a:folHlink>
        <a:srgbClr val="FEFFFF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solidFill>
          <a:schemeClr val="tx2"/>
        </a:solidFill>
      </a:spPr>
      <a:bodyPr wrap="square" rtlCol="0" anchor="ctr">
        <a:noAutofit/>
      </a:bodyPr>
      <a:lstStyle>
        <a:defPPr algn="ctr">
          <a:defRPr kumimoji="1" sz="2400" b="1" dirty="0" smtClean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953</Words>
  <Application>WPS 演示</Application>
  <PresentationFormat>A4 纸张(210x297 毫米)</PresentationFormat>
  <Paragraphs>624</Paragraphs>
  <Slides>26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0" baseType="lpstr">
      <vt:lpstr>Arial</vt:lpstr>
      <vt:lpstr>宋体</vt:lpstr>
      <vt:lpstr>Wingdings</vt:lpstr>
      <vt:lpstr>微软雅黑</vt:lpstr>
      <vt:lpstr>Microsoft YaHei Light</vt:lpstr>
      <vt:lpstr>Calibri</vt:lpstr>
      <vt:lpstr>Arial Unicode MS</vt:lpstr>
      <vt:lpstr>等线 Light</vt:lpstr>
      <vt:lpstr>Calibri Light</vt:lpstr>
      <vt:lpstr>等线</vt:lpstr>
      <vt:lpstr>Arial</vt:lpstr>
      <vt:lpstr>黑体</vt:lpstr>
      <vt:lpstr>Office 主题​​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Fnck David</dc:creator>
  <cp:lastModifiedBy>高晓斐</cp:lastModifiedBy>
  <cp:revision>626</cp:revision>
  <dcterms:created xsi:type="dcterms:W3CDTF">2020-08-26T04:34:00Z</dcterms:created>
  <dcterms:modified xsi:type="dcterms:W3CDTF">2021-02-18T01:4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314</vt:lpwstr>
  </property>
</Properties>
</file>